
<file path=[Content_Types].xml><?xml version="1.0" encoding="utf-8"?>
<Types xmlns="http://schemas.openxmlformats.org/package/2006/content-types">
  <Default Extension="fntdata" ContentType="application/x-fontdata"/>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1"/>
  </p:sldMasterIdLst>
  <p:notesMasterIdLst>
    <p:notesMasterId r:id="rId6"/>
  </p:notesMasterIdLst>
  <p:sldIdLst>
    <p:sldId id="366" r:id="rId2"/>
    <p:sldId id="367" r:id="rId3"/>
    <p:sldId id="369" r:id="rId4"/>
    <p:sldId id="368" r:id="rId5"/>
  </p:sldIdLst>
  <p:sldSz cx="12192000" cy="6858000"/>
  <p:notesSz cx="6858000" cy="9144000"/>
  <p:embeddedFontLst>
    <p:embeddedFont>
      <p:font typeface="Rubik" panose="00000500000000000000" pitchFamily="50" charset="-79"/>
      <p:regular r:id="rId7"/>
      <p:bold r:id="rId8"/>
      <p:italic r:id="rId9"/>
    </p:embeddedFont>
    <p:embeddedFont>
      <p:font typeface="Trebuchet MS" panose="020B0603020202020204" pitchFamily="34" charset="0"/>
      <p:regular r:id="rId10"/>
      <p:bold r:id="rId11"/>
      <p:italic r:id="rId12"/>
      <p:boldItalic r:id="rId13"/>
    </p:embeddedFont>
  </p:embeddedFontLst>
  <p:custDataLst>
    <p:tags r:id="rId14"/>
  </p:custDataLst>
  <p:defaultTextStyle>
    <a:defPPr>
      <a:defRPr lang="en-US"/>
    </a:defPPr>
    <a:lvl1pPr marL="0" algn="l" defTabSz="972000" rtl="0" eaLnBrk="1" latinLnBrk="0" hangingPunct="1">
      <a:defRPr sz="1600" kern="1200">
        <a:solidFill>
          <a:schemeClr val="tx1"/>
        </a:solidFill>
        <a:latin typeface="+mn-lt"/>
        <a:ea typeface="+mn-ea"/>
        <a:cs typeface="+mn-cs"/>
      </a:defRPr>
    </a:lvl1pPr>
    <a:lvl2pPr marL="291600" algn="l" defTabSz="972000" rtl="0" eaLnBrk="1" latinLnBrk="0" hangingPunct="1">
      <a:defRPr sz="1600" kern="1200">
        <a:solidFill>
          <a:schemeClr val="tx1"/>
        </a:solidFill>
        <a:latin typeface="+mn-lt"/>
        <a:ea typeface="+mn-ea"/>
        <a:cs typeface="+mn-cs"/>
      </a:defRPr>
    </a:lvl2pPr>
    <a:lvl3pPr marL="583200" algn="l" defTabSz="972000" rtl="0" eaLnBrk="1" latinLnBrk="0" hangingPunct="1">
      <a:defRPr sz="1600" kern="1200">
        <a:solidFill>
          <a:schemeClr val="tx1"/>
        </a:solidFill>
        <a:latin typeface="+mn-lt"/>
        <a:ea typeface="+mn-ea"/>
        <a:cs typeface="+mn-cs"/>
      </a:defRPr>
    </a:lvl3pPr>
    <a:lvl4pPr marL="874800" algn="l" defTabSz="972000" rtl="0" eaLnBrk="1" latinLnBrk="0" hangingPunct="1">
      <a:defRPr sz="1600" kern="1200">
        <a:solidFill>
          <a:schemeClr val="tx1"/>
        </a:solidFill>
        <a:latin typeface="+mn-lt"/>
        <a:ea typeface="+mn-ea"/>
        <a:cs typeface="+mn-cs"/>
      </a:defRPr>
    </a:lvl4pPr>
    <a:lvl5pPr marL="1166400" algn="l" defTabSz="972000" rtl="0" eaLnBrk="1" latinLnBrk="0" hangingPunct="1">
      <a:defRPr sz="1600" kern="1200">
        <a:solidFill>
          <a:schemeClr val="tx1"/>
        </a:solidFill>
        <a:latin typeface="+mn-lt"/>
        <a:ea typeface="+mn-ea"/>
        <a:cs typeface="+mn-cs"/>
      </a:defRPr>
    </a:lvl5pPr>
    <a:lvl6pPr marL="1458000" algn="l" defTabSz="972000" rtl="0" eaLnBrk="1" latinLnBrk="0" hangingPunct="1">
      <a:defRPr sz="1600" kern="1200">
        <a:solidFill>
          <a:schemeClr val="tx1"/>
        </a:solidFill>
        <a:latin typeface="+mn-lt"/>
        <a:ea typeface="+mn-ea"/>
        <a:cs typeface="+mn-cs"/>
      </a:defRPr>
    </a:lvl6pPr>
    <a:lvl7pPr marL="1749600" algn="l" defTabSz="972000" rtl="0" eaLnBrk="1" latinLnBrk="0" hangingPunct="1">
      <a:defRPr sz="1600" kern="1200">
        <a:solidFill>
          <a:schemeClr val="tx1"/>
        </a:solidFill>
        <a:latin typeface="+mn-lt"/>
        <a:ea typeface="+mn-ea"/>
        <a:cs typeface="+mn-cs"/>
      </a:defRPr>
    </a:lvl7pPr>
    <a:lvl8pPr marL="2041200" algn="l" defTabSz="972000" rtl="0" eaLnBrk="1" latinLnBrk="0" hangingPunct="1">
      <a:defRPr sz="1600" kern="1200">
        <a:solidFill>
          <a:schemeClr val="tx1"/>
        </a:solidFill>
        <a:latin typeface="+mn-lt"/>
        <a:ea typeface="+mn-ea"/>
        <a:cs typeface="+mn-cs"/>
      </a:defRPr>
    </a:lvl8pPr>
    <a:lvl9pPr marL="2332800" algn="l" defTabSz="972000" rtl="0" eaLnBrk="1" latinLnBrk="0" hangingPunct="1">
      <a:defRPr sz="16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121D76F-33C5-4ABD-B3B0-8E0172116D02}" v="9" dt="2022-01-30T12:58:34.832"/>
  </p1510:revLst>
</p1510:revInfo>
</file>

<file path=ppt/tableStyles.xml><?xml version="1.0" encoding="utf-8"?>
<a:tblStyleLst xmlns:a="http://schemas.openxmlformats.org/drawingml/2006/main" def="{793D81CF-94F2-401A-BA57-92F5A7B2D0C5}">
  <a:tblStyle styleId="{793D81CF-94F2-401A-BA57-92F5A7B2D0C5}" styleName="Medium Style 1">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CCD2D8"/>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chemeClr val="dk2"/>
          </a:solidFill>
        </a:fill>
      </a:tcStyle>
    </a:seCell>
    <a:firstRow>
      <a:tcTxStyle b="on">
        <a:fontRef idx="minor"/>
        <a:schemeClr val="lt1"/>
      </a:tcTxStyle>
      <a:tcStyle>
        <a:tcBdr/>
        <a:fill>
          <a:solidFill>
            <a:schemeClr val="dk2"/>
          </a:solidFill>
        </a:fill>
      </a:tcStyle>
    </a:firstRow>
  </a:tblStyle>
  <a:tblStyle styleId="{B301B821-A1FF-4177-AEE7-76D212191A09}" styleName="Medium Style 1 - Accent 1">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EBDCFE"/>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3B2C5E"/>
          </a:solidFill>
        </a:fill>
      </a:tcStyle>
    </a:seCell>
    <a:firstRow>
      <a:tcTxStyle b="on">
        <a:fontRef idx="minor"/>
        <a:schemeClr val="lt1"/>
      </a:tcTxStyle>
      <a:tcStyle>
        <a:tcBdr/>
        <a:fill>
          <a:solidFill>
            <a:schemeClr val="dk2"/>
          </a:solidFill>
        </a:fill>
      </a:tcStyle>
    </a:firstRow>
  </a:tblStyle>
  <a:tblStyle styleId="{9DCAF9ED-07DC-4A11-8D7F-57B35C25682E}" styleName="Medium Style 1 - Accent 2">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F3F1"/>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1C5569"/>
          </a:solidFill>
        </a:fill>
      </a:tcStyle>
    </a:seCell>
    <a:firstRow>
      <a:tcTxStyle b="on">
        <a:fontRef idx="minor"/>
        <a:schemeClr val="lt1"/>
      </a:tcTxStyle>
      <a:tcStyle>
        <a:tcBdr/>
        <a:fill>
          <a:solidFill>
            <a:schemeClr val="dk2"/>
          </a:solidFill>
        </a:fill>
      </a:tcStyle>
    </a:firstRow>
  </a:tblStyle>
  <a:tblStyle styleId="{1FECB4D8-DB02-4DC6-A0A2-4F2EBAE1DC90}" styleName="Medium Style 1 - Accent 3">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7FBD4"/>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dk1"/>
      </a:tcTxStyle>
      <a:tcStyle>
        <a:tcBdr/>
        <a:fill>
          <a:solidFill>
            <a:srgbClr val="D9EC27"/>
          </a:solidFill>
        </a:fill>
      </a:tcStyle>
    </a:seCell>
    <a:firstRow>
      <a:tcTxStyle b="on">
        <a:fontRef idx="minor"/>
        <a:schemeClr val="lt1"/>
      </a:tcTxStyle>
      <a:tcStyle>
        <a:tcBdr/>
        <a:fill>
          <a:solidFill>
            <a:schemeClr val="dk2"/>
          </a:solidFill>
        </a:fill>
      </a:tcStyle>
    </a:firstRow>
  </a:tblStyle>
  <a:tblStyle styleId="{1E171933-4619-4E11-9A3F-F7608DF75F80}" styleName="Medium Style 1 - Accent 4">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D5DF"/>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1D162F"/>
          </a:solidFill>
        </a:fill>
      </a:tcStyle>
    </a:seCell>
    <a:firstRow>
      <a:tcTxStyle b="on">
        <a:fontRef idx="minor"/>
        <a:schemeClr val="lt1"/>
      </a:tcTxStyle>
      <a:tcStyle>
        <a:tcBdr/>
        <a:fill>
          <a:solidFill>
            <a:schemeClr val="dk2"/>
          </a:solidFill>
        </a:fill>
      </a:tcStyle>
    </a:firstRow>
  </a:tblStyle>
  <a:tblStyle styleId="{FABFCF23-3B69-468F-B69F-88F6DE6A72F2}" styleName="Medium Style 1 - Accent 5">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2DDE1"/>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0E2A35"/>
          </a:solidFill>
        </a:fill>
      </a:tcStyle>
    </a:seCell>
    <a:firstRow>
      <a:tcTxStyle b="on">
        <a:fontRef idx="minor"/>
        <a:schemeClr val="lt1"/>
      </a:tcTxStyle>
      <a:tcStyle>
        <a:tcBdr/>
        <a:fill>
          <a:solidFill>
            <a:schemeClr val="dk2"/>
          </a:solidFill>
        </a:fill>
      </a:tcStyle>
    </a:firstRow>
  </a:tblStyle>
  <a:tblStyle styleId="{10A1B5D5-9B99-4C35-A422-299274C87663}" styleName="Medium Style 1 - Accent 6">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AD7E0"/>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7E102D"/>
          </a:solidFill>
        </a:fill>
      </a:tcStyle>
    </a:seCell>
    <a:firstRow>
      <a:tcTxStyle b="on">
        <a:fontRef idx="minor"/>
        <a:schemeClr val="lt1"/>
      </a:tcTxStyle>
      <a:tcStyle>
        <a:tcBdr/>
        <a:fill>
          <a:solidFill>
            <a:schemeClr val="dk2"/>
          </a:solidFill>
        </a:fill>
      </a:tcStyle>
    </a:firstRow>
  </a:tblStyle>
  <a:tblStyle styleId="{073A0DAA-6AF3-43AB-8588-CEC1D06C72B9}" styleName="Medium Style 2">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lt1"/>
      </a:tcTxStyle>
      <a:tcStyle>
        <a:tcBdr/>
        <a:fill>
          <a:solidFill>
            <a:schemeClr val="dk2"/>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chemeClr val="dk2"/>
          </a:solidFill>
        </a:fill>
      </a:tcStyle>
    </a:seCell>
    <a:firstRow>
      <a:tcTxStyle b="on">
        <a:fontRef idx="minor"/>
        <a:schemeClr val="lt1"/>
      </a:tcTxStyle>
      <a:tcStyle>
        <a:tcBdr/>
        <a:fill>
          <a:solidFill>
            <a:schemeClr val="dk2"/>
          </a:solidFill>
        </a:fill>
      </a:tcStyle>
    </a:firstRow>
  </a:tblStyle>
  <a:tblStyle styleId="{5C22544A-7EE6-4342-B048-85BDC9FD1C3A}" styleName="Medium Style 2 - Accent 1">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lt1"/>
      </a:tcTxStyle>
      <a:tcStyle>
        <a:tcBdr/>
        <a:fill>
          <a:solidFill>
            <a:schemeClr val="accent1"/>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3B2C5E"/>
          </a:solidFill>
        </a:fill>
      </a:tcStyle>
    </a:seCell>
    <a:firstRow>
      <a:tcTxStyle b="on">
        <a:fontRef idx="minor"/>
        <a:schemeClr val="lt1"/>
      </a:tcTxStyle>
      <a:tcStyle>
        <a:tcBdr/>
        <a:fill>
          <a:solidFill>
            <a:schemeClr val="dk2"/>
          </a:solidFill>
        </a:fill>
      </a:tcStyle>
    </a:firstRow>
  </a:tblStyle>
  <a:tblStyle styleId="{21E4AEA4-8DFA-4A89-87EB-49C32662AFE0}" styleName="Medium Style 2 - Accent 2">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lt1"/>
      </a:tcTxStyle>
      <a:tcStyle>
        <a:tcBdr/>
        <a:fill>
          <a:solidFill>
            <a:schemeClr val="accent2"/>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1C5569"/>
          </a:solidFill>
        </a:fill>
      </a:tcStyle>
    </a:seCell>
    <a:firstRow>
      <a:tcTxStyle b="on">
        <a:fontRef idx="minor"/>
        <a:schemeClr val="lt1"/>
      </a:tcTxStyle>
      <a:tcStyle>
        <a:tcBdr/>
        <a:fill>
          <a:solidFill>
            <a:schemeClr val="dk2"/>
          </a:solidFill>
        </a:fill>
      </a:tcStyle>
    </a:firstRow>
  </a:tblStyle>
  <a:tblStyle styleId="{F5AB1C69-6EDB-4FF4-983F-18BD219EF322}" styleName="Medium Style 2 - Accent 3">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chemeClr val="accent3"/>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dk1"/>
      </a:tcTxStyle>
      <a:tcStyle>
        <a:tcBdr/>
        <a:fill>
          <a:solidFill>
            <a:srgbClr val="D9EC27"/>
          </a:solidFill>
        </a:fill>
      </a:tcStyle>
    </a:seCell>
    <a:firstRow>
      <a:tcTxStyle b="on">
        <a:fontRef idx="minor"/>
        <a:schemeClr val="lt1"/>
      </a:tcTxStyle>
      <a:tcStyle>
        <a:tcBdr/>
        <a:fill>
          <a:solidFill>
            <a:schemeClr val="dk2"/>
          </a:solidFill>
        </a:fill>
      </a:tcStyle>
    </a:firstRow>
  </a:tblStyle>
  <a:tblStyle styleId="{00A15C55-8517-42AA-B614-E9B94910E393}" styleName="Medium Style 2 - Accent 4">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lt1"/>
      </a:tcTxStyle>
      <a:tcStyle>
        <a:tcBdr/>
        <a:fill>
          <a:solidFill>
            <a:schemeClr val="accent4"/>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1D162F"/>
          </a:solidFill>
        </a:fill>
      </a:tcStyle>
    </a:seCell>
    <a:firstRow>
      <a:tcTxStyle b="on">
        <a:fontRef idx="minor"/>
        <a:schemeClr val="lt1"/>
      </a:tcTxStyle>
      <a:tcStyle>
        <a:tcBdr/>
        <a:fill>
          <a:solidFill>
            <a:schemeClr val="dk2"/>
          </a:solidFill>
        </a:fill>
      </a:tcStyle>
    </a:firstRow>
  </a:tblStyle>
  <a:tblStyle styleId="{7DF18680-E054-41AD-8BC1-D1AEF772440D}" styleName="Medium Style 2 - Accent 5">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lt1"/>
      </a:tcTxStyle>
      <a:tcStyle>
        <a:tcBdr/>
        <a:fill>
          <a:solidFill>
            <a:schemeClr val="accent5"/>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0E2A35"/>
          </a:solidFill>
        </a:fill>
      </a:tcStyle>
    </a:seCell>
    <a:firstRow>
      <a:tcTxStyle b="on">
        <a:fontRef idx="minor"/>
        <a:schemeClr val="lt1"/>
      </a:tcTxStyle>
      <a:tcStyle>
        <a:tcBdr/>
        <a:fill>
          <a:solidFill>
            <a:schemeClr val="dk2"/>
          </a:solidFill>
        </a:fill>
      </a:tcStyle>
    </a:firstRow>
  </a:tblStyle>
  <a:tblStyle styleId="{93296810-A885-4BE3-A3E7-6D5BEEA58F35}" styleName="Medium Style 2 - Accent 6">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lt1"/>
      </a:tcTxStyle>
      <a:tcStyle>
        <a:tcBdr/>
        <a:fill>
          <a:solidFill>
            <a:schemeClr val="accent6"/>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7E102D"/>
          </a:solidFill>
        </a:fill>
      </a:tcStyle>
    </a:seCell>
    <a:firstRow>
      <a:tcTxStyle b="on">
        <a:fontRef idx="minor"/>
        <a:schemeClr val="lt1"/>
      </a:tcTxStyle>
      <a:tcStyle>
        <a:tcBdr/>
        <a:fill>
          <a:solidFill>
            <a:schemeClr val="dk2"/>
          </a:solidFill>
        </a:fill>
      </a:tcStyle>
    </a:firstRow>
  </a:tblStyle>
  <a:tblStyle styleId="{8EC20E35-A176-4012-BC5E-935CFFF8708E}" styleName="Medium Style 3">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CCD2D8"/>
          </a:solidFill>
        </a:fill>
      </a:tcStyle>
    </a:lastCol>
    <a:firstCol>
      <a:tcTxStyle b="on"/>
      <a:tcStyle>
        <a:tcBdr/>
      </a:tcStyle>
    </a:firstCol>
    <a:lastRow>
      <a:tcTxStyle b="on">
        <a:fontRef idx="minor"/>
        <a:schemeClr val="dk1"/>
      </a:tcTxStyle>
      <a:tcStyle>
        <a:tcBdr/>
        <a:fill>
          <a:solidFill>
            <a:srgbClr val="67798B"/>
          </a:solidFill>
        </a:fill>
      </a:tcStyle>
    </a:lastRow>
    <a:seCell>
      <a:tcTxStyle b="on">
        <a:fontRef idx="minor"/>
        <a:schemeClr val="lt1"/>
      </a:tcTxStyle>
      <a:tcStyle>
        <a:tcBdr/>
        <a:fill>
          <a:solidFill>
            <a:schemeClr val="dk2"/>
          </a:solidFill>
        </a:fill>
      </a:tcStyle>
    </a:seCell>
    <a:firstRow>
      <a:tcTxStyle b="on">
        <a:fontRef idx="minor"/>
        <a:schemeClr val="lt1"/>
      </a:tcTxStyle>
      <a:tcStyle>
        <a:tcBdr/>
        <a:fill>
          <a:solidFill>
            <a:schemeClr val="dk2"/>
          </a:solidFill>
        </a:fill>
      </a:tcStyle>
    </a:firstRow>
  </a:tblStyle>
  <a:tblStyle styleId="{6E25E649-3F16-4E02-A733-19D2CDBF48F0}" styleName="Medium Style 3 - Accent 1">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EBDCFE"/>
          </a:solidFill>
        </a:fill>
      </a:tcStyle>
    </a:lastCol>
    <a:firstCol>
      <a:tcTxStyle b="on"/>
      <a:tcStyle>
        <a:tcBdr/>
      </a:tcStyle>
    </a:firstCol>
    <a:lastRow>
      <a:tcTxStyle b="on">
        <a:fontRef idx="minor"/>
        <a:schemeClr val="lt1"/>
      </a:tcTxStyle>
      <a:tcStyle>
        <a:tcBdr/>
        <a:fill>
          <a:solidFill>
            <a:srgbClr val="3B2C5E"/>
          </a:solidFill>
        </a:fill>
      </a:tcStyle>
    </a:lastRow>
    <a:seCell>
      <a:tcTxStyle b="on">
        <a:fontRef idx="minor"/>
        <a:schemeClr val="lt1"/>
      </a:tcTxStyle>
      <a:tcStyle>
        <a:tcBdr/>
        <a:fill>
          <a:solidFill>
            <a:srgbClr val="3B2C5E"/>
          </a:solidFill>
        </a:fill>
      </a:tcStyle>
    </a:seCell>
    <a:firstRow>
      <a:tcTxStyle b="on">
        <a:fontRef idx="minor"/>
        <a:schemeClr val="lt1"/>
      </a:tcTxStyle>
      <a:tcStyle>
        <a:tcBdr/>
        <a:fill>
          <a:solidFill>
            <a:schemeClr val="dk2"/>
          </a:solidFill>
        </a:fill>
      </a:tcStyle>
    </a:firstRow>
  </a:tblStyle>
  <a:tblStyle styleId="{85BE263C-DBD7-4A20-BB59-AAB30ACAA65A}" styleName="Medium Style 3 - Accent 2">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F3F1"/>
          </a:solidFill>
        </a:fill>
      </a:tcStyle>
    </a:lastCol>
    <a:firstCol>
      <a:tcTxStyle b="on"/>
      <a:tcStyle>
        <a:tcBdr/>
      </a:tcStyle>
    </a:firstCol>
    <a:lastRow>
      <a:tcTxStyle b="on">
        <a:fontRef idx="minor"/>
        <a:schemeClr val="lt1"/>
      </a:tcTxStyle>
      <a:tcStyle>
        <a:tcBdr/>
        <a:fill>
          <a:solidFill>
            <a:srgbClr val="1C5569"/>
          </a:solidFill>
        </a:fill>
      </a:tcStyle>
    </a:lastRow>
    <a:seCell>
      <a:tcTxStyle b="on">
        <a:fontRef idx="minor"/>
        <a:schemeClr val="lt1"/>
      </a:tcTxStyle>
      <a:tcStyle>
        <a:tcBdr/>
        <a:fill>
          <a:solidFill>
            <a:srgbClr val="1C5569"/>
          </a:solidFill>
        </a:fill>
      </a:tcStyle>
    </a:seCell>
    <a:firstRow>
      <a:tcTxStyle b="on">
        <a:fontRef idx="minor"/>
        <a:schemeClr val="lt1"/>
      </a:tcTxStyle>
      <a:tcStyle>
        <a:tcBdr/>
        <a:fill>
          <a:solidFill>
            <a:schemeClr val="dk2"/>
          </a:solidFill>
        </a:fill>
      </a:tcStyle>
    </a:firstRow>
  </a:tblStyle>
  <a:tblStyle styleId="{EB344D84-9AFB-497E-A393-DC336BA19D2E}" styleName="Medium Style 3 - Accent 3">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7FBD4"/>
          </a:solidFill>
        </a:fill>
      </a:tcStyle>
    </a:lastCol>
    <a:firstCol>
      <a:tcTxStyle b="on"/>
      <a:tcStyle>
        <a:tcBdr/>
      </a:tcStyle>
    </a:firstCol>
    <a:lastRow>
      <a:tcTxStyle b="on">
        <a:fontRef idx="minor"/>
        <a:schemeClr val="dk1"/>
      </a:tcTxStyle>
      <a:tcStyle>
        <a:tcBdr/>
        <a:fill>
          <a:solidFill>
            <a:srgbClr val="D9EC27"/>
          </a:solidFill>
        </a:fill>
      </a:tcStyle>
    </a:lastRow>
    <a:seCell>
      <a:tcTxStyle b="on">
        <a:fontRef idx="minor"/>
        <a:schemeClr val="dk1"/>
      </a:tcTxStyle>
      <a:tcStyle>
        <a:tcBdr/>
        <a:fill>
          <a:solidFill>
            <a:srgbClr val="D9EC27"/>
          </a:solidFill>
        </a:fill>
      </a:tcStyle>
    </a:seCell>
    <a:firstRow>
      <a:tcTxStyle b="on">
        <a:fontRef idx="minor"/>
        <a:schemeClr val="lt1"/>
      </a:tcTxStyle>
      <a:tcStyle>
        <a:tcBdr/>
        <a:fill>
          <a:solidFill>
            <a:schemeClr val="dk2"/>
          </a:solidFill>
        </a:fill>
      </a:tcStyle>
    </a:firstRow>
  </a:tblStyle>
  <a:tblStyle styleId="{EB9631B5-78F2-41C9-869B-9F39066F8104}" styleName="Medium Style 3 - Accent 4">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D5DF"/>
          </a:solidFill>
        </a:fill>
      </a:tcStyle>
    </a:lastCol>
    <a:firstCol>
      <a:tcTxStyle b="on"/>
      <a:tcStyle>
        <a:tcBdr/>
      </a:tcStyle>
    </a:firstCol>
    <a:lastRow>
      <a:tcTxStyle b="on">
        <a:fontRef idx="minor"/>
        <a:schemeClr val="lt1"/>
      </a:tcTxStyle>
      <a:tcStyle>
        <a:tcBdr/>
        <a:fill>
          <a:solidFill>
            <a:srgbClr val="1D162F"/>
          </a:solidFill>
        </a:fill>
      </a:tcStyle>
    </a:lastRow>
    <a:seCell>
      <a:tcTxStyle b="on">
        <a:fontRef idx="minor"/>
        <a:schemeClr val="lt1"/>
      </a:tcTxStyle>
      <a:tcStyle>
        <a:tcBdr/>
        <a:fill>
          <a:solidFill>
            <a:srgbClr val="1D162F"/>
          </a:solidFill>
        </a:fill>
      </a:tcStyle>
    </a:seCell>
    <a:firstRow>
      <a:tcTxStyle b="on">
        <a:fontRef idx="minor"/>
        <a:schemeClr val="lt1"/>
      </a:tcTxStyle>
      <a:tcStyle>
        <a:tcBdr/>
        <a:fill>
          <a:solidFill>
            <a:schemeClr val="dk2"/>
          </a:solidFill>
        </a:fill>
      </a:tcStyle>
    </a:firstRow>
  </a:tblStyle>
  <a:tblStyle styleId="{74C1A8A3-306A-4EB7-A6B1-4F7E0EB9C5D6}" styleName="Medium Style 3 - Accent 5">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2DDE1"/>
          </a:solidFill>
        </a:fill>
      </a:tcStyle>
    </a:lastCol>
    <a:firstCol>
      <a:tcTxStyle b="on"/>
      <a:tcStyle>
        <a:tcBdr/>
      </a:tcStyle>
    </a:firstCol>
    <a:lastRow>
      <a:tcTxStyle b="on">
        <a:fontRef idx="minor"/>
        <a:schemeClr val="lt1"/>
      </a:tcTxStyle>
      <a:tcStyle>
        <a:tcBdr/>
        <a:fill>
          <a:solidFill>
            <a:srgbClr val="0E2A35"/>
          </a:solidFill>
        </a:fill>
      </a:tcStyle>
    </a:lastRow>
    <a:seCell>
      <a:tcTxStyle b="on">
        <a:fontRef idx="minor"/>
        <a:schemeClr val="lt1"/>
      </a:tcTxStyle>
      <a:tcStyle>
        <a:tcBdr/>
        <a:fill>
          <a:solidFill>
            <a:srgbClr val="0E2A35"/>
          </a:solidFill>
        </a:fill>
      </a:tcStyle>
    </a:seCell>
    <a:firstRow>
      <a:tcTxStyle b="on">
        <a:fontRef idx="minor"/>
        <a:schemeClr val="lt1"/>
      </a:tcTxStyle>
      <a:tcStyle>
        <a:tcBdr/>
        <a:fill>
          <a:solidFill>
            <a:schemeClr val="dk2"/>
          </a:solidFill>
        </a:fill>
      </a:tcStyle>
    </a:firstRow>
  </a:tblStyle>
  <a:tblStyle styleId="{2A488322-F2BA-4B5B-9748-0D474271808F}" styleName="Medium Style 3 - Accent 6">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AD7E0"/>
          </a:solidFill>
        </a:fill>
      </a:tcStyle>
    </a:lastCol>
    <a:firstCol>
      <a:tcTxStyle b="on"/>
      <a:tcStyle>
        <a:tcBdr/>
      </a:tcStyle>
    </a:firstCol>
    <a:lastRow>
      <a:tcTxStyle b="on">
        <a:fontRef idx="minor"/>
        <a:schemeClr val="lt1"/>
      </a:tcTxStyle>
      <a:tcStyle>
        <a:tcBdr/>
        <a:fill>
          <a:solidFill>
            <a:srgbClr val="7E102D"/>
          </a:solidFill>
        </a:fill>
      </a:tcStyle>
    </a:lastRow>
    <a:seCell>
      <a:tcTxStyle b="on">
        <a:fontRef idx="minor"/>
        <a:schemeClr val="lt1"/>
      </a:tcTxStyle>
      <a:tcStyle>
        <a:tcBdr/>
        <a:fill>
          <a:solidFill>
            <a:srgbClr val="7E102D"/>
          </a:solidFill>
        </a:fill>
      </a:tcStyle>
    </a:seCell>
    <a:firstRow>
      <a:tcTxStyle b="on">
        <a:fontRef idx="minor"/>
        <a:schemeClr val="lt1"/>
      </a:tcTxStyle>
      <a:tcStyle>
        <a:tcBdr/>
        <a:fill>
          <a:solidFill>
            <a:schemeClr val="dk2"/>
          </a:solidFill>
        </a:fill>
      </a:tcStyle>
    </a:firstRow>
  </a:tblStyle>
  <a:tblStyle styleId="{9D7B26C5-4107-4FEC-AEDC-1716B250A1EF}" styleName="Light Style 1">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CCD2D8"/>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chemeClr val="dk2"/>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CCD2D8"/>
          </a:solidFill>
        </a:fill>
      </a:tcStyle>
    </a:neCell>
  </a:tblStyle>
  <a:tblStyle styleId="{3B4B98B0-60AC-42C2-AFA5-B58CD77FA1E5}" styleName="Light Style 1 - Accent 1">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EBDCFE"/>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3B2C5E"/>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EBDCFE"/>
          </a:solidFill>
        </a:fill>
      </a:tcStyle>
    </a:neCell>
  </a:tblStyle>
  <a:tblStyle styleId="{0E3FDE45-AF77-4B5C-9715-49D594BDF05E}" styleName="Light Style 1 - Accent 2">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F3F1"/>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1C5569"/>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D8F3F1"/>
          </a:solidFill>
        </a:fill>
      </a:tcStyle>
    </a:neCell>
  </a:tblStyle>
  <a:tblStyle styleId="{C083E6E3-FA7D-4D7B-A595-EF9225AFEA82}" styleName="Light Style 1 - Accent 3">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7FBD4"/>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dk1"/>
      </a:tcTxStyle>
      <a:tcStyle>
        <a:tcBdr/>
        <a:fill>
          <a:solidFill>
            <a:srgbClr val="D9EC27"/>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F7FBD4"/>
          </a:solidFill>
        </a:fill>
      </a:tcStyle>
    </a:neCell>
  </a:tblStyle>
  <a:tblStyle styleId="{D27102A9-8310-4765-A935-A1911B00CA55}" styleName="Light Style 1 - Accent 4">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D5DF"/>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1D162F"/>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D8D5DF"/>
          </a:solidFill>
        </a:fill>
      </a:tcStyle>
    </a:neCell>
  </a:tblStyle>
  <a:tblStyle styleId="{5FD0F851-EC5A-4D38-B0AD-8093EC10F338}" styleName="Light Style 1 - Accent 5">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2DDE1"/>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0E2A35"/>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D2DDE1"/>
          </a:solidFill>
        </a:fill>
      </a:tcStyle>
    </a:neCell>
  </a:tblStyle>
  <a:tblStyle styleId="{68D230F3-CF80-4859-8CE7-A43EE81993B5}" styleName="Light Style 1 - Accent 6">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AD7E0"/>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7E102D"/>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FAD7E0"/>
          </a:solidFill>
        </a:fill>
      </a:tcStyle>
    </a:neCell>
  </a:tblStyle>
  <a:tblStyle styleId="{7E9639D4-E3E2-4D34-9284-5A2195B3D0D7}" styleName="Light Style 2">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CCD2D8"/>
          </a:solidFill>
        </a:fill>
      </a:tcStyle>
    </a:lastCol>
    <a:firstCol>
      <a:tcTxStyle b="on"/>
      <a:tcStyle>
        <a:tcBdr/>
      </a:tcStyle>
    </a:firstCol>
    <a:lastRow>
      <a:tcTxStyle b="on">
        <a:fontRef idx="minor"/>
        <a:schemeClr val="dk1"/>
      </a:tcTxStyle>
      <a:tcStyle>
        <a:tcBdr/>
        <a:fill>
          <a:solidFill>
            <a:srgbClr val="67798B"/>
          </a:solidFill>
        </a:fill>
      </a:tcStyle>
    </a:lastRow>
    <a:seCell>
      <a:tcTxStyle b="on">
        <a:fontRef idx="minor"/>
        <a:schemeClr val="lt1"/>
      </a:tcTxStyle>
      <a:tcStyle>
        <a:tcBdr/>
        <a:fill>
          <a:solidFill>
            <a:schemeClr val="dk2"/>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CCD2D8"/>
          </a:solidFill>
        </a:fill>
      </a:tcStyle>
    </a:neCell>
  </a:tblStyle>
  <a:tblStyle styleId="{69012ECD-51FC-41F1-AA8D-1B2483CD663E}" styleName="Light Style 2 - Accent 1">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EBDCFE"/>
          </a:solidFill>
        </a:fill>
      </a:tcStyle>
    </a:lastCol>
    <a:firstCol>
      <a:tcTxStyle b="on"/>
      <a:tcStyle>
        <a:tcBdr/>
      </a:tcStyle>
    </a:firstCol>
    <a:lastRow>
      <a:tcTxStyle b="on">
        <a:fontRef idx="minor"/>
        <a:schemeClr val="lt1"/>
      </a:tcTxStyle>
      <a:tcStyle>
        <a:tcBdr/>
        <a:fill>
          <a:solidFill>
            <a:srgbClr val="3B2C5E"/>
          </a:solidFill>
        </a:fill>
      </a:tcStyle>
    </a:lastRow>
    <a:seCell>
      <a:tcTxStyle b="on">
        <a:fontRef idx="minor"/>
        <a:schemeClr val="lt1"/>
      </a:tcTxStyle>
      <a:tcStyle>
        <a:tcBdr/>
        <a:fill>
          <a:solidFill>
            <a:srgbClr val="3B2C5E"/>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EBDCFE"/>
          </a:solidFill>
        </a:fill>
      </a:tcStyle>
    </a:neCell>
  </a:tblStyle>
  <a:tblStyle styleId="{72833802-FEF1-4C79-8D5D-14CF1EAF98D9}" styleName="Light Style 2 - Accent 2">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F3F1"/>
          </a:solidFill>
        </a:fill>
      </a:tcStyle>
    </a:lastCol>
    <a:firstCol>
      <a:tcTxStyle b="on"/>
      <a:tcStyle>
        <a:tcBdr/>
      </a:tcStyle>
    </a:firstCol>
    <a:lastRow>
      <a:tcTxStyle b="on">
        <a:fontRef idx="minor"/>
        <a:schemeClr val="lt1"/>
      </a:tcTxStyle>
      <a:tcStyle>
        <a:tcBdr/>
        <a:fill>
          <a:solidFill>
            <a:srgbClr val="1C5569"/>
          </a:solidFill>
        </a:fill>
      </a:tcStyle>
    </a:lastRow>
    <a:seCell>
      <a:tcTxStyle b="on">
        <a:fontRef idx="minor"/>
        <a:schemeClr val="lt1"/>
      </a:tcTxStyle>
      <a:tcStyle>
        <a:tcBdr/>
        <a:fill>
          <a:solidFill>
            <a:srgbClr val="1C5569"/>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D8F3F1"/>
          </a:solidFill>
        </a:fill>
      </a:tcStyle>
    </a:neCell>
  </a:tblStyle>
  <a:tblStyle styleId="{F2DE63D5-997A-4646-A377-4702673A728D}" styleName="Light Style 2 - Accent 3">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7FBD4"/>
          </a:solidFill>
        </a:fill>
      </a:tcStyle>
    </a:lastCol>
    <a:firstCol>
      <a:tcTxStyle b="on"/>
      <a:tcStyle>
        <a:tcBdr/>
      </a:tcStyle>
    </a:firstCol>
    <a:lastRow>
      <a:tcTxStyle b="on">
        <a:fontRef idx="minor"/>
        <a:schemeClr val="dk1"/>
      </a:tcTxStyle>
      <a:tcStyle>
        <a:tcBdr/>
        <a:fill>
          <a:solidFill>
            <a:srgbClr val="D9EC27"/>
          </a:solidFill>
        </a:fill>
      </a:tcStyle>
    </a:lastRow>
    <a:seCell>
      <a:tcTxStyle b="on">
        <a:fontRef idx="minor"/>
        <a:schemeClr val="dk1"/>
      </a:tcTxStyle>
      <a:tcStyle>
        <a:tcBdr/>
        <a:fill>
          <a:solidFill>
            <a:srgbClr val="D9EC27"/>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F7FBD4"/>
          </a:solidFill>
        </a:fill>
      </a:tcStyle>
    </a:neCell>
  </a:tblStyle>
  <a:tblStyle styleId="{17292A2E-F333-43FB-9621-5CBBE7FDCDCB}" styleName="Light Style 2 - Accent 4">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D5DF"/>
          </a:solidFill>
        </a:fill>
      </a:tcStyle>
    </a:lastCol>
    <a:firstCol>
      <a:tcTxStyle b="on"/>
      <a:tcStyle>
        <a:tcBdr/>
      </a:tcStyle>
    </a:firstCol>
    <a:lastRow>
      <a:tcTxStyle b="on">
        <a:fontRef idx="minor"/>
        <a:schemeClr val="lt1"/>
      </a:tcTxStyle>
      <a:tcStyle>
        <a:tcBdr/>
        <a:fill>
          <a:solidFill>
            <a:srgbClr val="1D162F"/>
          </a:solidFill>
        </a:fill>
      </a:tcStyle>
    </a:lastRow>
    <a:seCell>
      <a:tcTxStyle b="on">
        <a:fontRef idx="minor"/>
        <a:schemeClr val="lt1"/>
      </a:tcTxStyle>
      <a:tcStyle>
        <a:tcBdr/>
        <a:fill>
          <a:solidFill>
            <a:srgbClr val="1D162F"/>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D8D5DF"/>
          </a:solidFill>
        </a:fill>
      </a:tcStyle>
    </a:neCell>
  </a:tblStyle>
  <a:tblStyle styleId="{5A111915-BE36-4E01-A7E5-04B1672EAD32}" styleName="Light Style 2 - Accent 5">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2DDE1"/>
          </a:solidFill>
        </a:fill>
      </a:tcStyle>
    </a:lastCol>
    <a:firstCol>
      <a:tcTxStyle b="on"/>
      <a:tcStyle>
        <a:tcBdr/>
      </a:tcStyle>
    </a:firstCol>
    <a:lastRow>
      <a:tcTxStyle b="on">
        <a:fontRef idx="minor"/>
        <a:schemeClr val="lt1"/>
      </a:tcTxStyle>
      <a:tcStyle>
        <a:tcBdr/>
        <a:fill>
          <a:solidFill>
            <a:srgbClr val="0E2A35"/>
          </a:solidFill>
        </a:fill>
      </a:tcStyle>
    </a:lastRow>
    <a:seCell>
      <a:tcTxStyle b="on">
        <a:fontRef idx="minor"/>
        <a:schemeClr val="lt1"/>
      </a:tcTxStyle>
      <a:tcStyle>
        <a:tcBdr/>
        <a:fill>
          <a:solidFill>
            <a:srgbClr val="0E2A35"/>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D2DDE1"/>
          </a:solidFill>
        </a:fill>
      </a:tcStyle>
    </a:neCell>
  </a:tblStyle>
  <a:tblStyle styleId="{912C8C85-51F0-491E-9774-3900AFEF0FD7}" styleName="Light Style 2 - Accent 6">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AD7E0"/>
          </a:solidFill>
        </a:fill>
      </a:tcStyle>
    </a:lastCol>
    <a:firstCol>
      <a:tcTxStyle b="on"/>
      <a:tcStyle>
        <a:tcBdr/>
      </a:tcStyle>
    </a:firstCol>
    <a:lastRow>
      <a:tcTxStyle b="on">
        <a:fontRef idx="minor"/>
        <a:schemeClr val="lt1"/>
      </a:tcTxStyle>
      <a:tcStyle>
        <a:tcBdr/>
        <a:fill>
          <a:solidFill>
            <a:srgbClr val="7E102D"/>
          </a:solidFill>
        </a:fill>
      </a:tcStyle>
    </a:lastRow>
    <a:seCell>
      <a:tcTxStyle b="on">
        <a:fontRef idx="minor"/>
        <a:schemeClr val="lt1"/>
      </a:tcTxStyle>
      <a:tcStyle>
        <a:tcBdr/>
        <a:fill>
          <a:solidFill>
            <a:srgbClr val="7E102D"/>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FAD7E0"/>
          </a:solidFill>
        </a:fill>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howGuides="1">
      <p:cViewPr varScale="1">
        <p:scale>
          <a:sx n="91" d="100"/>
          <a:sy n="91" d="100"/>
        </p:scale>
        <p:origin x="211" y="67"/>
      </p:cViewPr>
      <p:guideLst/>
    </p:cSldViewPr>
  </p:slideViewPr>
  <p:notesTextViewPr>
    <p:cViewPr>
      <p:scale>
        <a:sx n="3" d="2"/>
        <a:sy n="3" d="2"/>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font" Target="fonts/font2.fntdata"/><Relationship Id="rId13" Type="http://schemas.openxmlformats.org/officeDocument/2006/relationships/font" Target="fonts/font7.fntdata"/><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font" Target="fonts/font1.fntdata"/><Relationship Id="rId12" Type="http://schemas.openxmlformats.org/officeDocument/2006/relationships/font" Target="fonts/font6.fntdata"/><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20"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notesMaster" Target="notesMasters/notesMaster1.xml"/><Relationship Id="rId11" Type="http://schemas.openxmlformats.org/officeDocument/2006/relationships/font" Target="fonts/font5.fntdata"/><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font" Target="fonts/font4.fntdata"/><Relationship Id="rId19" Type="http://schemas.microsoft.com/office/2016/11/relationships/changesInfo" Target="changesInfos/changesInfo1.xml"/><Relationship Id="rId4" Type="http://schemas.openxmlformats.org/officeDocument/2006/relationships/slide" Target="slides/slide3.xml"/><Relationship Id="rId9" Type="http://schemas.openxmlformats.org/officeDocument/2006/relationships/font" Target="fonts/font3.fntdata"/><Relationship Id="rId14" Type="http://schemas.openxmlformats.org/officeDocument/2006/relationships/tags" Target="tags/tag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ollapally, Niveed Kumar Reddy" userId="28c4fb1b-a9b6-485c-8fb3-0353347fb226" providerId="ADAL" clId="{3121D76F-33C5-4ABD-B3B0-8E0172116D02}"/>
    <pc:docChg chg="undo custSel addSld delSld modSld">
      <pc:chgData name="Bollapally, Niveed Kumar Reddy" userId="28c4fb1b-a9b6-485c-8fb3-0353347fb226" providerId="ADAL" clId="{3121D76F-33C5-4ABD-B3B0-8E0172116D02}" dt="2022-01-30T13:04:02.618" v="381" actId="20577"/>
      <pc:docMkLst>
        <pc:docMk/>
      </pc:docMkLst>
      <pc:sldChg chg="addSp delSp modSp mod">
        <pc:chgData name="Bollapally, Niveed Kumar Reddy" userId="28c4fb1b-a9b6-485c-8fb3-0353347fb226" providerId="ADAL" clId="{3121D76F-33C5-4ABD-B3B0-8E0172116D02}" dt="2022-01-30T12:49:38.013" v="45" actId="20577"/>
        <pc:sldMkLst>
          <pc:docMk/>
          <pc:sldMk cId="684571084" sldId="366"/>
        </pc:sldMkLst>
        <pc:spChg chg="mod">
          <ac:chgData name="Bollapally, Niveed Kumar Reddy" userId="28c4fb1b-a9b6-485c-8fb3-0353347fb226" providerId="ADAL" clId="{3121D76F-33C5-4ABD-B3B0-8E0172116D02}" dt="2022-01-30T12:49:11.594" v="15" actId="20577"/>
          <ac:spMkLst>
            <pc:docMk/>
            <pc:sldMk cId="684571084" sldId="366"/>
            <ac:spMk id="16" creationId="{6D6DA9F7-DB64-4567-BE8E-E069C1B10127}"/>
          </ac:spMkLst>
        </pc:spChg>
        <pc:spChg chg="mod">
          <ac:chgData name="Bollapally, Niveed Kumar Reddy" userId="28c4fb1b-a9b6-485c-8fb3-0353347fb226" providerId="ADAL" clId="{3121D76F-33C5-4ABD-B3B0-8E0172116D02}" dt="2022-01-30T12:49:19.917" v="16" actId="1076"/>
          <ac:spMkLst>
            <pc:docMk/>
            <pc:sldMk cId="684571084" sldId="366"/>
            <ac:spMk id="17" creationId="{86EFEFE6-40D8-4F98-A8DC-DB4A69331A78}"/>
          </ac:spMkLst>
        </pc:spChg>
        <pc:spChg chg="mod">
          <ac:chgData name="Bollapally, Niveed Kumar Reddy" userId="28c4fb1b-a9b6-485c-8fb3-0353347fb226" providerId="ADAL" clId="{3121D76F-33C5-4ABD-B3B0-8E0172116D02}" dt="2022-01-30T12:49:38.013" v="45" actId="20577"/>
          <ac:spMkLst>
            <pc:docMk/>
            <pc:sldMk cId="684571084" sldId="366"/>
            <ac:spMk id="18" creationId="{1A8455E1-E124-45CE-B4DD-AE99CCF9A248}"/>
          </ac:spMkLst>
        </pc:spChg>
        <pc:spChg chg="del">
          <ac:chgData name="Bollapally, Niveed Kumar Reddy" userId="28c4fb1b-a9b6-485c-8fb3-0353347fb226" providerId="ADAL" clId="{3121D76F-33C5-4ABD-B3B0-8E0172116D02}" dt="2022-01-30T12:48:41.507" v="0" actId="931"/>
          <ac:spMkLst>
            <pc:docMk/>
            <pc:sldMk cId="684571084" sldId="366"/>
            <ac:spMk id="19" creationId="{BBAF474D-C48B-47A3-AD43-776B973A4A16}"/>
          </ac:spMkLst>
        </pc:spChg>
        <pc:picChg chg="add mod">
          <ac:chgData name="Bollapally, Niveed Kumar Reddy" userId="28c4fb1b-a9b6-485c-8fb3-0353347fb226" providerId="ADAL" clId="{3121D76F-33C5-4ABD-B3B0-8E0172116D02}" dt="2022-01-30T12:48:59.038" v="5" actId="14100"/>
          <ac:picMkLst>
            <pc:docMk/>
            <pc:sldMk cId="684571084" sldId="366"/>
            <ac:picMk id="3" creationId="{CB3C9A7D-64B2-477C-9ACF-2C6CDE360C76}"/>
          </ac:picMkLst>
        </pc:picChg>
      </pc:sldChg>
      <pc:sldChg chg="modSp mod">
        <pc:chgData name="Bollapally, Niveed Kumar Reddy" userId="28c4fb1b-a9b6-485c-8fb3-0353347fb226" providerId="ADAL" clId="{3121D76F-33C5-4ABD-B3B0-8E0172116D02}" dt="2022-01-30T13:04:02.618" v="381" actId="20577"/>
        <pc:sldMkLst>
          <pc:docMk/>
          <pc:sldMk cId="1022597847" sldId="367"/>
        </pc:sldMkLst>
        <pc:spChg chg="mod">
          <ac:chgData name="Bollapally, Niveed Kumar Reddy" userId="28c4fb1b-a9b6-485c-8fb3-0353347fb226" providerId="ADAL" clId="{3121D76F-33C5-4ABD-B3B0-8E0172116D02}" dt="2022-01-30T13:04:02.618" v="381" actId="20577"/>
          <ac:spMkLst>
            <pc:docMk/>
            <pc:sldMk cId="1022597847" sldId="367"/>
            <ac:spMk id="2" creationId="{6F28F343-BA60-4E08-9E39-5B5A8795CDA4}"/>
          </ac:spMkLst>
        </pc:spChg>
        <pc:spChg chg="mod">
          <ac:chgData name="Bollapally, Niveed Kumar Reddy" userId="28c4fb1b-a9b6-485c-8fb3-0353347fb226" providerId="ADAL" clId="{3121D76F-33C5-4ABD-B3B0-8E0172116D02}" dt="2022-01-30T13:04:00.051" v="380" actId="20577"/>
          <ac:spMkLst>
            <pc:docMk/>
            <pc:sldMk cId="1022597847" sldId="367"/>
            <ac:spMk id="6" creationId="{525CBB0E-B869-4882-8948-65DD257EDC97}"/>
          </ac:spMkLst>
        </pc:spChg>
      </pc:sldChg>
      <pc:sldChg chg="addSp delSp modSp mod modClrScheme chgLayout">
        <pc:chgData name="Bollapally, Niveed Kumar Reddy" userId="28c4fb1b-a9b6-485c-8fb3-0353347fb226" providerId="ADAL" clId="{3121D76F-33C5-4ABD-B3B0-8E0172116D02}" dt="2022-01-30T13:03:36.895" v="379"/>
        <pc:sldMkLst>
          <pc:docMk/>
          <pc:sldMk cId="1336772705" sldId="369"/>
        </pc:sldMkLst>
        <pc:spChg chg="mod ord">
          <ac:chgData name="Bollapally, Niveed Kumar Reddy" userId="28c4fb1b-a9b6-485c-8fb3-0353347fb226" providerId="ADAL" clId="{3121D76F-33C5-4ABD-B3B0-8E0172116D02}" dt="2022-01-30T12:59:02.559" v="244" actId="26606"/>
          <ac:spMkLst>
            <pc:docMk/>
            <pc:sldMk cId="1336772705" sldId="369"/>
            <ac:spMk id="2" creationId="{3729475E-5342-4F14-86B6-B051CA586F3F}"/>
          </ac:spMkLst>
        </pc:spChg>
        <pc:spChg chg="mod">
          <ac:chgData name="Bollapally, Niveed Kumar Reddy" userId="28c4fb1b-a9b6-485c-8fb3-0353347fb226" providerId="ADAL" clId="{3121D76F-33C5-4ABD-B3B0-8E0172116D02}" dt="2022-01-30T12:59:02.559" v="244" actId="26606"/>
          <ac:spMkLst>
            <pc:docMk/>
            <pc:sldMk cId="1336772705" sldId="369"/>
            <ac:spMk id="3" creationId="{29F384B6-4E30-43F2-856C-4931E95D1C09}"/>
          </ac:spMkLst>
        </pc:spChg>
        <pc:spChg chg="mod">
          <ac:chgData name="Bollapally, Niveed Kumar Reddy" userId="28c4fb1b-a9b6-485c-8fb3-0353347fb226" providerId="ADAL" clId="{3121D76F-33C5-4ABD-B3B0-8E0172116D02}" dt="2022-01-30T12:59:02.559" v="244" actId="26606"/>
          <ac:spMkLst>
            <pc:docMk/>
            <pc:sldMk cId="1336772705" sldId="369"/>
            <ac:spMk id="4" creationId="{5F02E374-7038-4DE3-AA02-A2C34A7E519F}"/>
          </ac:spMkLst>
        </pc:spChg>
        <pc:spChg chg="add del">
          <ac:chgData name="Bollapally, Niveed Kumar Reddy" userId="28c4fb1b-a9b6-485c-8fb3-0353347fb226" providerId="ADAL" clId="{3121D76F-33C5-4ABD-B3B0-8E0172116D02}" dt="2022-01-30T12:59:02.559" v="244" actId="26606"/>
          <ac:spMkLst>
            <pc:docMk/>
            <pc:sldMk cId="1336772705" sldId="369"/>
            <ac:spMk id="5" creationId="{52816D73-16BF-4DE5-9470-389365833768}"/>
          </ac:spMkLst>
        </pc:spChg>
        <pc:spChg chg="add del">
          <ac:chgData name="Bollapally, Niveed Kumar Reddy" userId="28c4fb1b-a9b6-485c-8fb3-0353347fb226" providerId="ADAL" clId="{3121D76F-33C5-4ABD-B3B0-8E0172116D02}" dt="2022-01-30T12:58:41.275" v="241" actId="22"/>
          <ac:spMkLst>
            <pc:docMk/>
            <pc:sldMk cId="1336772705" sldId="369"/>
            <ac:spMk id="6" creationId="{8300A30E-56D3-4B3A-8CDB-4EC8BF085B07}"/>
          </ac:spMkLst>
        </pc:spChg>
        <pc:spChg chg="add del mod">
          <ac:chgData name="Bollapally, Niveed Kumar Reddy" userId="28c4fb1b-a9b6-485c-8fb3-0353347fb226" providerId="ADAL" clId="{3121D76F-33C5-4ABD-B3B0-8E0172116D02}" dt="2022-01-30T12:59:02.548" v="243" actId="26606"/>
          <ac:spMkLst>
            <pc:docMk/>
            <pc:sldMk cId="1336772705" sldId="369"/>
            <ac:spMk id="17" creationId="{0CAC7B53-856C-4052-8C0A-C4E3B5682B45}"/>
          </ac:spMkLst>
        </pc:spChg>
        <pc:spChg chg="add del mod">
          <ac:chgData name="Bollapally, Niveed Kumar Reddy" userId="28c4fb1b-a9b6-485c-8fb3-0353347fb226" providerId="ADAL" clId="{3121D76F-33C5-4ABD-B3B0-8E0172116D02}" dt="2022-01-30T12:59:02.548" v="243" actId="26606"/>
          <ac:spMkLst>
            <pc:docMk/>
            <pc:sldMk cId="1336772705" sldId="369"/>
            <ac:spMk id="19" creationId="{2D556F58-56E3-4960-9465-CC2F615A7B9C}"/>
          </ac:spMkLst>
        </pc:spChg>
        <pc:spChg chg="add del mod">
          <ac:chgData name="Bollapally, Niveed Kumar Reddy" userId="28c4fb1b-a9b6-485c-8fb3-0353347fb226" providerId="ADAL" clId="{3121D76F-33C5-4ABD-B3B0-8E0172116D02}" dt="2022-01-30T12:59:02.548" v="243" actId="26606"/>
          <ac:spMkLst>
            <pc:docMk/>
            <pc:sldMk cId="1336772705" sldId="369"/>
            <ac:spMk id="21" creationId="{A3F52A2C-9424-4D4C-8C0F-24DEA47183AE}"/>
          </ac:spMkLst>
        </pc:spChg>
        <pc:spChg chg="add del mod">
          <ac:chgData name="Bollapally, Niveed Kumar Reddy" userId="28c4fb1b-a9b6-485c-8fb3-0353347fb226" providerId="ADAL" clId="{3121D76F-33C5-4ABD-B3B0-8E0172116D02}" dt="2022-01-30T12:59:02.548" v="243" actId="26606"/>
          <ac:spMkLst>
            <pc:docMk/>
            <pc:sldMk cId="1336772705" sldId="369"/>
            <ac:spMk id="23" creationId="{BE28F34C-BA91-4282-963C-48E02907B7B4}"/>
          </ac:spMkLst>
        </pc:spChg>
        <pc:spChg chg="add mod">
          <ac:chgData name="Bollapally, Niveed Kumar Reddy" userId="28c4fb1b-a9b6-485c-8fb3-0353347fb226" providerId="ADAL" clId="{3121D76F-33C5-4ABD-B3B0-8E0172116D02}" dt="2022-01-30T13:03:36.895" v="379"/>
          <ac:spMkLst>
            <pc:docMk/>
            <pc:sldMk cId="1336772705" sldId="369"/>
            <ac:spMk id="25" creationId="{1E3D0FD7-5025-42EF-9044-CE7F8D16BA0D}"/>
          </ac:spMkLst>
        </pc:spChg>
        <pc:spChg chg="add mod">
          <ac:chgData name="Bollapally, Niveed Kumar Reddy" userId="28c4fb1b-a9b6-485c-8fb3-0353347fb226" providerId="ADAL" clId="{3121D76F-33C5-4ABD-B3B0-8E0172116D02}" dt="2022-01-30T12:59:02.559" v="244" actId="26606"/>
          <ac:spMkLst>
            <pc:docMk/>
            <pc:sldMk cId="1336772705" sldId="369"/>
            <ac:spMk id="26" creationId="{D9EE78A4-9F9B-4CCF-965B-577CA2A1A397}"/>
          </ac:spMkLst>
        </pc:spChg>
        <pc:spChg chg="add mod">
          <ac:chgData name="Bollapally, Niveed Kumar Reddy" userId="28c4fb1b-a9b6-485c-8fb3-0353347fb226" providerId="ADAL" clId="{3121D76F-33C5-4ABD-B3B0-8E0172116D02}" dt="2022-01-30T12:59:17.624" v="247" actId="14100"/>
          <ac:spMkLst>
            <pc:docMk/>
            <pc:sldMk cId="1336772705" sldId="369"/>
            <ac:spMk id="27" creationId="{CCA9955A-7AA3-42F9-8B43-3F033384A722}"/>
          </ac:spMkLst>
        </pc:spChg>
        <pc:spChg chg="add mod">
          <ac:chgData name="Bollapally, Niveed Kumar Reddy" userId="28c4fb1b-a9b6-485c-8fb3-0353347fb226" providerId="ADAL" clId="{3121D76F-33C5-4ABD-B3B0-8E0172116D02}" dt="2022-01-30T13:03:19.295" v="376" actId="20577"/>
          <ac:spMkLst>
            <pc:docMk/>
            <pc:sldMk cId="1336772705" sldId="369"/>
            <ac:spMk id="28" creationId="{53B8E1E8-49F4-4789-B379-9DA4C5F4B4B3}"/>
          </ac:spMkLst>
        </pc:spChg>
        <pc:spChg chg="add del mod">
          <ac:chgData name="Bollapally, Niveed Kumar Reddy" userId="28c4fb1b-a9b6-485c-8fb3-0353347fb226" providerId="ADAL" clId="{3121D76F-33C5-4ABD-B3B0-8E0172116D02}" dt="2022-01-30T13:00:49.727" v="256" actId="22"/>
          <ac:spMkLst>
            <pc:docMk/>
            <pc:sldMk cId="1336772705" sldId="369"/>
            <ac:spMk id="29" creationId="{89B7D924-3CE2-427E-9B25-CADD8597D6E3}"/>
          </ac:spMkLst>
        </pc:spChg>
        <pc:spChg chg="add mod">
          <ac:chgData name="Bollapally, Niveed Kumar Reddy" userId="28c4fb1b-a9b6-485c-8fb3-0353347fb226" providerId="ADAL" clId="{3121D76F-33C5-4ABD-B3B0-8E0172116D02}" dt="2022-01-30T13:03:27.276" v="377"/>
          <ac:spMkLst>
            <pc:docMk/>
            <pc:sldMk cId="1336772705" sldId="369"/>
            <ac:spMk id="30" creationId="{C59112FE-D504-4010-ABF5-19A0D3328820}"/>
          </ac:spMkLst>
        </pc:spChg>
        <pc:spChg chg="add del mod">
          <ac:chgData name="Bollapally, Niveed Kumar Reddy" userId="28c4fb1b-a9b6-485c-8fb3-0353347fb226" providerId="ADAL" clId="{3121D76F-33C5-4ABD-B3B0-8E0172116D02}" dt="2022-01-30T13:01:59.495" v="258" actId="22"/>
          <ac:spMkLst>
            <pc:docMk/>
            <pc:sldMk cId="1336772705" sldId="369"/>
            <ac:spMk id="31" creationId="{13086816-74AF-4C60-8363-395457D9CAC9}"/>
          </ac:spMkLst>
        </pc:spChg>
        <pc:spChg chg="add mod">
          <ac:chgData name="Bollapally, Niveed Kumar Reddy" userId="28c4fb1b-a9b6-485c-8fb3-0353347fb226" providerId="ADAL" clId="{3121D76F-33C5-4ABD-B3B0-8E0172116D02}" dt="2022-01-30T13:03:32.346" v="378"/>
          <ac:spMkLst>
            <pc:docMk/>
            <pc:sldMk cId="1336772705" sldId="369"/>
            <ac:spMk id="32" creationId="{E22E5B81-4045-4766-BE67-DC49125EFF18}"/>
          </ac:spMkLst>
        </pc:spChg>
        <pc:picChg chg="add del mod ord">
          <ac:chgData name="Bollapally, Niveed Kumar Reddy" userId="28c4fb1b-a9b6-485c-8fb3-0353347fb226" providerId="ADAL" clId="{3121D76F-33C5-4ABD-B3B0-8E0172116D02}" dt="2022-01-30T12:56:14.700" v="203" actId="22"/>
          <ac:picMkLst>
            <pc:docMk/>
            <pc:sldMk cId="1336772705" sldId="369"/>
            <ac:picMk id="8" creationId="{4659E0F7-5B4D-43CC-81F7-68B61399C917}"/>
          </ac:picMkLst>
        </pc:picChg>
        <pc:picChg chg="add del mod ord">
          <ac:chgData name="Bollapally, Niveed Kumar Reddy" userId="28c4fb1b-a9b6-485c-8fb3-0353347fb226" providerId="ADAL" clId="{3121D76F-33C5-4ABD-B3B0-8E0172116D02}" dt="2022-01-30T12:56:38.707" v="207" actId="22"/>
          <ac:picMkLst>
            <pc:docMk/>
            <pc:sldMk cId="1336772705" sldId="369"/>
            <ac:picMk id="10" creationId="{4C494F1E-3184-47D7-B09F-12E65884FC6D}"/>
          </ac:picMkLst>
        </pc:picChg>
        <pc:picChg chg="add mod ord">
          <ac:chgData name="Bollapally, Niveed Kumar Reddy" userId="28c4fb1b-a9b6-485c-8fb3-0353347fb226" providerId="ADAL" clId="{3121D76F-33C5-4ABD-B3B0-8E0172116D02}" dt="2022-01-30T13:02:13.562" v="261" actId="14100"/>
          <ac:picMkLst>
            <pc:docMk/>
            <pc:sldMk cId="1336772705" sldId="369"/>
            <ac:picMk id="12" creationId="{3404DF2C-B6B3-43D1-B7CB-52D9224C7980}"/>
          </ac:picMkLst>
        </pc:picChg>
        <pc:picChg chg="add mod">
          <ac:chgData name="Bollapally, Niveed Kumar Reddy" userId="28c4fb1b-a9b6-485c-8fb3-0353347fb226" providerId="ADAL" clId="{3121D76F-33C5-4ABD-B3B0-8E0172116D02}" dt="2022-01-30T13:00:29.796" v="255" actId="14100"/>
          <ac:picMkLst>
            <pc:docMk/>
            <pc:sldMk cId="1336772705" sldId="369"/>
            <ac:picMk id="14" creationId="{E9B22016-F9D3-4D60-961F-8D7DA54CBC62}"/>
          </ac:picMkLst>
        </pc:picChg>
        <pc:picChg chg="add mod ord">
          <ac:chgData name="Bollapally, Niveed Kumar Reddy" userId="28c4fb1b-a9b6-485c-8fb3-0353347fb226" providerId="ADAL" clId="{3121D76F-33C5-4ABD-B3B0-8E0172116D02}" dt="2022-01-30T13:00:53.243" v="257" actId="1076"/>
          <ac:picMkLst>
            <pc:docMk/>
            <pc:sldMk cId="1336772705" sldId="369"/>
            <ac:picMk id="16" creationId="{02C6F906-DE24-4EF3-9675-5583F43A4B43}"/>
          </ac:picMkLst>
        </pc:picChg>
        <pc:picChg chg="add mod ord">
          <ac:chgData name="Bollapally, Niveed Kumar Reddy" userId="28c4fb1b-a9b6-485c-8fb3-0353347fb226" providerId="ADAL" clId="{3121D76F-33C5-4ABD-B3B0-8E0172116D02}" dt="2022-01-30T13:02:01.521" v="259" actId="1076"/>
          <ac:picMkLst>
            <pc:docMk/>
            <pc:sldMk cId="1336772705" sldId="369"/>
            <ac:picMk id="20" creationId="{3D9516A1-BC1E-44B5-8392-4D563B41FD53}"/>
          </ac:picMkLst>
        </pc:picChg>
      </pc:sldChg>
      <pc:sldChg chg="addSp delSp modSp add del mod replTag modNotes">
        <pc:chgData name="Bollapally, Niveed Kumar Reddy" userId="28c4fb1b-a9b6-485c-8fb3-0353347fb226" providerId="ADAL" clId="{3121D76F-33C5-4ABD-B3B0-8E0172116D02}" dt="2022-01-30T12:59:23.712" v="248" actId="2696"/>
        <pc:sldMkLst>
          <pc:docMk/>
          <pc:sldMk cId="1588899863" sldId="389"/>
        </pc:sldMkLst>
        <pc:spChg chg="del">
          <ac:chgData name="Bollapally, Niveed Kumar Reddy" userId="28c4fb1b-a9b6-485c-8fb3-0353347fb226" providerId="ADAL" clId="{3121D76F-33C5-4ABD-B3B0-8E0172116D02}" dt="2022-01-30T12:58:34.830" v="216"/>
          <ac:spMkLst>
            <pc:docMk/>
            <pc:sldMk cId="1588899863" sldId="389"/>
            <ac:spMk id="2" creationId="{642134D0-E4F2-4873-9EE9-6A57A17D2FB3}"/>
          </ac:spMkLst>
        </pc:spChg>
        <pc:spChg chg="del">
          <ac:chgData name="Bollapally, Niveed Kumar Reddy" userId="28c4fb1b-a9b6-485c-8fb3-0353347fb226" providerId="ADAL" clId="{3121D76F-33C5-4ABD-B3B0-8E0172116D02}" dt="2022-01-30T12:58:34.831" v="218"/>
          <ac:spMkLst>
            <pc:docMk/>
            <pc:sldMk cId="1588899863" sldId="389"/>
            <ac:spMk id="3" creationId="{4B02E44B-138A-4BA7-BECE-88D63002162B}"/>
          </ac:spMkLst>
        </pc:spChg>
        <pc:spChg chg="add mod">
          <ac:chgData name="Bollapally, Niveed Kumar Reddy" userId="28c4fb1b-a9b6-485c-8fb3-0353347fb226" providerId="ADAL" clId="{3121D76F-33C5-4ABD-B3B0-8E0172116D02}" dt="2022-01-30T12:58:34.858" v="236" actId="790"/>
          <ac:spMkLst>
            <pc:docMk/>
            <pc:sldMk cId="1588899863" sldId="389"/>
            <ac:spMk id="4" creationId="{E1B8E2ED-1D59-4427-B6BB-DF7D3112B223}"/>
          </ac:spMkLst>
        </pc:spChg>
        <pc:spChg chg="add mod">
          <ac:chgData name="Bollapally, Niveed Kumar Reddy" userId="28c4fb1b-a9b6-485c-8fb3-0353347fb226" providerId="ADAL" clId="{3121D76F-33C5-4ABD-B3B0-8E0172116D02}" dt="2022-01-30T12:58:34.865" v="237" actId="790"/>
          <ac:spMkLst>
            <pc:docMk/>
            <pc:sldMk cId="1588899863" sldId="389"/>
            <ac:spMk id="5" creationId="{74DDBE6C-1F1C-4B44-9A60-B2960155F946}"/>
          </ac:spMkLst>
        </pc:spChg>
        <pc:spChg chg="mod">
          <ac:chgData name="Bollapally, Niveed Kumar Reddy" userId="28c4fb1b-a9b6-485c-8fb3-0353347fb226" providerId="ADAL" clId="{3121D76F-33C5-4ABD-B3B0-8E0172116D02}" dt="2022-01-30T12:58:34.847" v="228" actId="790"/>
          <ac:spMkLst>
            <pc:docMk/>
            <pc:sldMk cId="1588899863" sldId="389"/>
            <ac:spMk id="18" creationId="{F4BCAE55-80A4-4914-A214-F22FFAA9C26E}"/>
          </ac:spMkLst>
        </pc:spChg>
        <pc:spChg chg="mod">
          <ac:chgData name="Bollapally, Niveed Kumar Reddy" userId="28c4fb1b-a9b6-485c-8fb3-0353347fb226" providerId="ADAL" clId="{3121D76F-33C5-4ABD-B3B0-8E0172116D02}" dt="2022-01-30T12:58:34.847" v="229" actId="790"/>
          <ac:spMkLst>
            <pc:docMk/>
            <pc:sldMk cId="1588899863" sldId="389"/>
            <ac:spMk id="19" creationId="{EA6A3E57-7875-4468-B926-918ED3BC5D05}"/>
          </ac:spMkLst>
        </pc:spChg>
        <pc:spChg chg="mod">
          <ac:chgData name="Bollapally, Niveed Kumar Reddy" userId="28c4fb1b-a9b6-485c-8fb3-0353347fb226" providerId="ADAL" clId="{3121D76F-33C5-4ABD-B3B0-8E0172116D02}" dt="2022-01-30T12:58:34.849" v="230" actId="790"/>
          <ac:spMkLst>
            <pc:docMk/>
            <pc:sldMk cId="1588899863" sldId="389"/>
            <ac:spMk id="20" creationId="{80ECA1ED-CD5A-4B43-8674-AD9E74C3A0F5}"/>
          </ac:spMkLst>
        </pc:spChg>
        <pc:spChg chg="mod">
          <ac:chgData name="Bollapally, Niveed Kumar Reddy" userId="28c4fb1b-a9b6-485c-8fb3-0353347fb226" providerId="ADAL" clId="{3121D76F-33C5-4ABD-B3B0-8E0172116D02}" dt="2022-01-30T12:58:34.850" v="231" actId="790"/>
          <ac:spMkLst>
            <pc:docMk/>
            <pc:sldMk cId="1588899863" sldId="389"/>
            <ac:spMk id="21" creationId="{FAF86137-886D-4FCD-BDC6-554F8D45D3BD}"/>
          </ac:spMkLst>
        </pc:spChg>
        <pc:spChg chg="mod">
          <ac:chgData name="Bollapally, Niveed Kumar Reddy" userId="28c4fb1b-a9b6-485c-8fb3-0353347fb226" providerId="ADAL" clId="{3121D76F-33C5-4ABD-B3B0-8E0172116D02}" dt="2022-01-30T12:58:34.852" v="232" actId="790"/>
          <ac:spMkLst>
            <pc:docMk/>
            <pc:sldMk cId="1588899863" sldId="389"/>
            <ac:spMk id="22" creationId="{1ABB1497-E4A0-4583-B68E-E3D8B106B634}"/>
          </ac:spMkLst>
        </pc:spChg>
        <pc:spChg chg="mod">
          <ac:chgData name="Bollapally, Niveed Kumar Reddy" userId="28c4fb1b-a9b6-485c-8fb3-0353347fb226" providerId="ADAL" clId="{3121D76F-33C5-4ABD-B3B0-8E0172116D02}" dt="2022-01-30T12:58:34.854" v="233" actId="790"/>
          <ac:spMkLst>
            <pc:docMk/>
            <pc:sldMk cId="1588899863" sldId="389"/>
            <ac:spMk id="23" creationId="{42F453D4-5DE5-4491-A57B-C180CDCDA999}"/>
          </ac:spMkLst>
        </pc:spChg>
        <pc:spChg chg="mod">
          <ac:chgData name="Bollapally, Niveed Kumar Reddy" userId="28c4fb1b-a9b6-485c-8fb3-0353347fb226" providerId="ADAL" clId="{3121D76F-33C5-4ABD-B3B0-8E0172116D02}" dt="2022-01-30T12:58:34.855" v="234" actId="790"/>
          <ac:spMkLst>
            <pc:docMk/>
            <pc:sldMk cId="1588899863" sldId="389"/>
            <ac:spMk id="24" creationId="{C350EED8-4B7D-4A17-8657-3CF9FA5D1DF2}"/>
          </ac:spMkLst>
        </pc:spChg>
        <pc:spChg chg="mod">
          <ac:chgData name="Bollapally, Niveed Kumar Reddy" userId="28c4fb1b-a9b6-485c-8fb3-0353347fb226" providerId="ADAL" clId="{3121D76F-33C5-4ABD-B3B0-8E0172116D02}" dt="2022-01-30T12:58:34.857" v="235" actId="790"/>
          <ac:spMkLst>
            <pc:docMk/>
            <pc:sldMk cId="1588899863" sldId="389"/>
            <ac:spMk id="25" creationId="{30B715AF-98B2-4AA7-9AD2-7275E2299CD8}"/>
          </ac:spMkLst>
        </pc:spChg>
      </pc:sldChg>
      <pc:sldMasterChg chg="delSldLayout">
        <pc:chgData name="Bollapally, Niveed Kumar Reddy" userId="28c4fb1b-a9b6-485c-8fb3-0353347fb226" providerId="ADAL" clId="{3121D76F-33C5-4ABD-B3B0-8E0172116D02}" dt="2022-01-30T12:59:23.712" v="248" actId="2696"/>
        <pc:sldMasterMkLst>
          <pc:docMk/>
          <pc:sldMasterMk cId="0" sldId="2147483648"/>
        </pc:sldMasterMkLst>
        <pc:sldLayoutChg chg="del">
          <pc:chgData name="Bollapally, Niveed Kumar Reddy" userId="28c4fb1b-a9b6-485c-8fb3-0353347fb226" providerId="ADAL" clId="{3121D76F-33C5-4ABD-B3B0-8E0172116D02}" dt="2022-01-30T12:59:23.712" v="248" actId="2696"/>
          <pc:sldLayoutMkLst>
            <pc:docMk/>
            <pc:sldMasterMk cId="0" sldId="2147483648"/>
            <pc:sldLayoutMk cId="1001896492" sldId="2147483801"/>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Rubik" panose="00000500000000000000" pitchFamily="50" charset="-79"/>
              </a:defRPr>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Rubik" panose="00000500000000000000" pitchFamily="50" charset="-79"/>
              </a:defRPr>
            </a:lvl1pPr>
          </a:lstStyle>
          <a:p>
            <a:fld id="{CFA44459-8680-4AD3-8D18-9EF0845F156E}" type="datetimeFigureOut">
              <a:rPr lang="en-US"/>
              <a:pPr/>
              <a:t>1/29/2022</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Rubik" panose="00000500000000000000" pitchFamily="50" charset="-79"/>
              </a:defRPr>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Rubik" panose="00000500000000000000" pitchFamily="50" charset="-79"/>
              </a:defRPr>
            </a:lvl1pPr>
          </a:lstStyle>
          <a:p>
            <a:fld id="{83316E30-EEB7-4740-B0AB-5BFB7F8E5764}" type="slidenum">
              <a:rPr lang="en-US"/>
              <a:pPr/>
              <a:t>‹#›</a:t>
            </a:fld>
            <a:endParaRPr lang="en-US" dirty="0"/>
          </a:p>
        </p:txBody>
      </p:sp>
    </p:spTree>
    <p:extLst>
      <p:ext uri="{BB962C8B-B14F-4D97-AF65-F5344CB8AC3E}">
        <p14:creationId xmlns:p14="http://schemas.microsoft.com/office/powerpoint/2010/main" val="38943923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Rubik" panose="00000500000000000000" pitchFamily="50" charset="-79"/>
        <a:ea typeface="+mn-ea"/>
        <a:cs typeface="+mn-cs"/>
      </a:defRPr>
    </a:lvl1pPr>
    <a:lvl2pPr marL="457200" algn="l" defTabSz="914400" rtl="0" eaLnBrk="1" latinLnBrk="0" hangingPunct="1">
      <a:defRPr sz="1200" kern="1200">
        <a:solidFill>
          <a:schemeClr val="tx1"/>
        </a:solidFill>
        <a:latin typeface="Rubik" panose="00000500000000000000" pitchFamily="50" charset="-79"/>
        <a:ea typeface="+mn-ea"/>
        <a:cs typeface="+mn-cs"/>
      </a:defRPr>
    </a:lvl2pPr>
    <a:lvl3pPr marL="914400" algn="l" defTabSz="914400" rtl="0" eaLnBrk="1" latinLnBrk="0" hangingPunct="1">
      <a:defRPr sz="1200" kern="1200">
        <a:solidFill>
          <a:schemeClr val="tx1"/>
        </a:solidFill>
        <a:latin typeface="Rubik" panose="00000500000000000000" pitchFamily="50" charset="-79"/>
        <a:ea typeface="+mn-ea"/>
        <a:cs typeface="+mn-cs"/>
      </a:defRPr>
    </a:lvl3pPr>
    <a:lvl4pPr marL="1371600" algn="l" defTabSz="914400" rtl="0" eaLnBrk="1" latinLnBrk="0" hangingPunct="1">
      <a:defRPr sz="1200" kern="1200">
        <a:solidFill>
          <a:schemeClr val="tx1"/>
        </a:solidFill>
        <a:latin typeface="Rubik" panose="00000500000000000000" pitchFamily="50" charset="-79"/>
        <a:ea typeface="+mn-ea"/>
        <a:cs typeface="+mn-cs"/>
      </a:defRPr>
    </a:lvl4pPr>
    <a:lvl5pPr marL="1828800" algn="l" defTabSz="914400" rtl="0" eaLnBrk="1" latinLnBrk="0" hangingPunct="1">
      <a:defRPr sz="1200" kern="1200">
        <a:solidFill>
          <a:schemeClr val="tx1"/>
        </a:solidFill>
        <a:latin typeface="Rubik" panose="00000500000000000000" pitchFamily="50" charset="-79"/>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3316E30-EEB7-4740-B0AB-5BFB7F8E5764}" type="slidenum">
              <a:rPr lang="en-US"/>
              <a:pPr/>
              <a:t>1</a:t>
            </a:fld>
            <a:endParaRPr lang="en-US" dirty="0"/>
          </a:p>
        </p:txBody>
      </p:sp>
    </p:spTree>
    <p:extLst>
      <p:ext uri="{BB962C8B-B14F-4D97-AF65-F5344CB8AC3E}">
        <p14:creationId xmlns:p14="http://schemas.microsoft.com/office/powerpoint/2010/main" val="23003581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3316E30-EEB7-4740-B0AB-5BFB7F8E5764}" type="slidenum">
              <a:rPr lang="en-US"/>
              <a:pPr/>
              <a:t>2</a:t>
            </a:fld>
            <a:endParaRPr lang="en-US" dirty="0"/>
          </a:p>
        </p:txBody>
      </p:sp>
    </p:spTree>
    <p:extLst>
      <p:ext uri="{BB962C8B-B14F-4D97-AF65-F5344CB8AC3E}">
        <p14:creationId xmlns:p14="http://schemas.microsoft.com/office/powerpoint/2010/main" val="7250719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3316E30-EEB7-4740-B0AB-5BFB7F8E5764}" type="slidenum">
              <a:rPr lang="en-US"/>
              <a:pPr/>
              <a:t>4</a:t>
            </a:fld>
            <a:endParaRPr lang="en-US" dirty="0"/>
          </a:p>
        </p:txBody>
      </p:sp>
    </p:spTree>
    <p:extLst>
      <p:ext uri="{BB962C8B-B14F-4D97-AF65-F5344CB8AC3E}">
        <p14:creationId xmlns:p14="http://schemas.microsoft.com/office/powerpoint/2010/main" val="29955719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9.xml"/><Relationship Id="rId1" Type="http://schemas.openxmlformats.org/officeDocument/2006/relationships/tags" Target="../tags/tag68.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9.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0.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1.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2.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3.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4.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6.xml"/><Relationship Id="rId1" Type="http://schemas.openxmlformats.org/officeDocument/2006/relationships/tags" Target="../tags/tag85.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8.xml"/><Relationship Id="rId1" Type="http://schemas.openxmlformats.org/officeDocument/2006/relationships/tags" Target="../tags/tag87.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tags" Target="../tags/tag70.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2.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3.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4.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5.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6.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7.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8.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10;- Light -" type="title" preserve="1">
  <p:cSld name="Title Slide">
    <p:bg>
      <p:bgRef idx="1001">
        <a:schemeClr val="bg1"/>
      </p:bgRef>
    </p:bg>
    <p:spTree>
      <p:nvGrpSpPr>
        <p:cNvPr id="1" name=""/>
        <p:cNvGrpSpPr/>
        <p:nvPr/>
      </p:nvGrpSpPr>
      <p:grpSpPr>
        <a:xfrm>
          <a:off x="0" y="0"/>
          <a:ext cx="0" cy="0"/>
          <a:chOff x="0" y="0"/>
          <a:chExt cx="0" cy="0"/>
        </a:xfrm>
      </p:grpSpPr>
      <p:sp>
        <p:nvSpPr>
          <p:cNvPr id="15" name="MIO_VALID_LAYOUT" hidden="1">
            <a:extLst>
              <a:ext uri="{FF2B5EF4-FFF2-40B4-BE49-F238E27FC236}">
                <a16:creationId xmlns:a16="http://schemas.microsoft.com/office/drawing/2014/main" id="{6AE58ECB-3CFD-4688-8045-0D446B1DBD41}"/>
              </a:ext>
            </a:extLst>
          </p:cNvPr>
          <p:cNvSpPr/>
          <p:nvPr userDrawn="1"/>
        </p:nvSpPr>
        <p:spPr>
          <a:xfrm>
            <a:off x="11640300" y="220663"/>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endParaRPr>
          </a:p>
        </p:txBody>
      </p:sp>
      <p:sp>
        <p:nvSpPr>
          <p:cNvPr id="16" name="MIO_AGENDA_IGNORE_NAVIGATION" hidden="1">
            <a:extLst>
              <a:ext uri="{FF2B5EF4-FFF2-40B4-BE49-F238E27FC236}">
                <a16:creationId xmlns:a16="http://schemas.microsoft.com/office/drawing/2014/main" id="{AF7ED251-C413-4CBF-B9F8-2DD33C49B8F7}"/>
              </a:ext>
            </a:extLst>
          </p:cNvPr>
          <p:cNvSpPr/>
          <p:nvPr userDrawn="1"/>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endParaRPr>
          </a:p>
        </p:txBody>
      </p:sp>
      <p:sp>
        <p:nvSpPr>
          <p:cNvPr id="17" name="MIO_AGENDA_IGNORE_CHAPTER_REFERENCE" hidden="1">
            <a:extLst>
              <a:ext uri="{FF2B5EF4-FFF2-40B4-BE49-F238E27FC236}">
                <a16:creationId xmlns:a16="http://schemas.microsoft.com/office/drawing/2014/main" id="{CF59B3D4-89FD-4828-87E0-E187652053AB}"/>
              </a:ext>
            </a:extLst>
          </p:cNvPr>
          <p:cNvSpPr/>
          <p:nvPr userDrawn="1"/>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endParaRPr>
          </a:p>
        </p:txBody>
      </p:sp>
      <p:sp useBgFill="1">
        <p:nvSpPr>
          <p:cNvPr id="3" name="Background">
            <a:extLst>
              <a:ext uri="{FF2B5EF4-FFF2-40B4-BE49-F238E27FC236}">
                <a16:creationId xmlns:a16="http://schemas.microsoft.com/office/drawing/2014/main" id="{3B0E330A-801A-431C-9B07-00E24E947010}"/>
              </a:ext>
            </a:extLst>
          </p:cNvPr>
          <p:cNvSpPr/>
          <p:nvPr userDrawn="1"/>
        </p:nvSpPr>
        <p:spPr>
          <a:xfrm>
            <a:off x="0" y="0"/>
            <a:ext cx="12192000" cy="6858000"/>
          </a:xfrm>
          <a:prstGeom prst="rect">
            <a:avLst/>
          </a:prstGeom>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latin typeface="+mn-lt"/>
              <a:cs typeface="+mn-cs"/>
            </a:endParaRPr>
          </a:p>
        </p:txBody>
      </p:sp>
      <p:sp>
        <p:nvSpPr>
          <p:cNvPr id="11" name="Logo Correction Shape">
            <a:extLst>
              <a:ext uri="{FF2B5EF4-FFF2-40B4-BE49-F238E27FC236}">
                <a16:creationId xmlns:a16="http://schemas.microsoft.com/office/drawing/2014/main" id="{ADFBC294-6E48-4D46-B408-C81C4C14D073}"/>
              </a:ext>
            </a:extLst>
          </p:cNvPr>
          <p:cNvSpPr/>
          <p:nvPr userDrawn="1"/>
        </p:nvSpPr>
        <p:spPr>
          <a:xfrm>
            <a:off x="7942800" y="3623400"/>
            <a:ext cx="2138400" cy="25272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latin typeface="+mn-lt"/>
              <a:cs typeface="+mn-cs"/>
            </a:endParaRPr>
          </a:p>
        </p:txBody>
      </p:sp>
      <p:sp>
        <p:nvSpPr>
          <p:cNvPr id="48" name="Picture Placeholder 31">
            <a:extLst>
              <a:ext uri="{FF2B5EF4-FFF2-40B4-BE49-F238E27FC236}">
                <a16:creationId xmlns:a16="http://schemas.microsoft.com/office/drawing/2014/main" id="{E6D91BEF-21D4-4EFF-9FB8-5FD12D98EF44}"/>
              </a:ext>
            </a:extLst>
          </p:cNvPr>
          <p:cNvSpPr>
            <a:spLocks noGrp="1"/>
          </p:cNvSpPr>
          <p:nvPr>
            <p:ph type="pic" sz="quarter" idx="31" hasCustomPrompt="1"/>
          </p:nvPr>
        </p:nvSpPr>
        <p:spPr>
          <a:xfrm>
            <a:off x="0" y="0"/>
            <a:ext cx="12191998" cy="6858000"/>
          </a:xfrm>
          <a:custGeom>
            <a:avLst/>
            <a:gdLst>
              <a:gd name="connsiteX0" fmla="*/ 8018088 w 12192000"/>
              <a:gd name="connsiteY0" fmla="*/ 3699600 h 6858000"/>
              <a:gd name="connsiteX1" fmla="*/ 8018088 w 12192000"/>
              <a:gd name="connsiteY1" fmla="*/ 6086475 h 6858000"/>
              <a:gd name="connsiteX2" fmla="*/ 9989763 w 12192000"/>
              <a:gd name="connsiteY2" fmla="*/ 6086475 h 6858000"/>
              <a:gd name="connsiteX3" fmla="*/ 9989763 w 12192000"/>
              <a:gd name="connsiteY3" fmla="*/ 3699600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8018088" y="3699600"/>
                </a:moveTo>
                <a:lnTo>
                  <a:pt x="8018088" y="6086475"/>
                </a:lnTo>
                <a:lnTo>
                  <a:pt x="9989763" y="6086475"/>
                </a:lnTo>
                <a:lnTo>
                  <a:pt x="9989763" y="3699600"/>
                </a:lnTo>
                <a:close/>
                <a:moveTo>
                  <a:pt x="0" y="0"/>
                </a:moveTo>
                <a:lnTo>
                  <a:pt x="12192000" y="0"/>
                </a:lnTo>
                <a:lnTo>
                  <a:pt x="12192000" y="6858000"/>
                </a:lnTo>
                <a:lnTo>
                  <a:pt x="0" y="6858000"/>
                </a:lnTo>
                <a:close/>
              </a:path>
            </a:pathLst>
          </a:custGeom>
          <a:pattFill prst="wdUpDiag">
            <a:fgClr>
              <a:schemeClr val="bg1"/>
            </a:fgClr>
            <a:bgClr>
              <a:schemeClr val="bg2"/>
            </a:bgClr>
          </a:pattFill>
        </p:spPr>
        <p:txBody>
          <a:bodyPr vert="horz" lIns="0" tIns="0" rIns="0" bIns="4320000" rtlCol="0" anchor="ctr" anchorCtr="1">
            <a:noAutofit/>
          </a:bodyPr>
          <a:lstStyle>
            <a:lvl1pPr>
              <a:defRPr lang="en-US" dirty="0"/>
            </a:lvl1pPr>
          </a:lstStyle>
          <a:p>
            <a:pPr lvl="0"/>
            <a:r>
              <a:rPr lang="en-US" dirty="0"/>
              <a:t>Click on area to add picture</a:t>
            </a:r>
          </a:p>
        </p:txBody>
      </p:sp>
      <p:sp>
        <p:nvSpPr>
          <p:cNvPr id="50" name="Title">
            <a:extLst>
              <a:ext uri="{FF2B5EF4-FFF2-40B4-BE49-F238E27FC236}">
                <a16:creationId xmlns:a16="http://schemas.microsoft.com/office/drawing/2014/main" id="{116431F7-1FFA-4480-99D2-7756C54FACD0}"/>
              </a:ext>
            </a:extLst>
          </p:cNvPr>
          <p:cNvSpPr>
            <a:spLocks noGrp="1"/>
          </p:cNvSpPr>
          <p:nvPr>
            <p:ph type="ctrTitle"/>
          </p:nvPr>
        </p:nvSpPr>
        <p:spPr>
          <a:xfrm>
            <a:off x="-1" y="2845800"/>
            <a:ext cx="10080625" cy="3304175"/>
          </a:xfrm>
          <a:custGeom>
            <a:avLst/>
            <a:gdLst>
              <a:gd name="connsiteX0" fmla="*/ 8040001 w 10080625"/>
              <a:gd name="connsiteY0" fmla="*/ 2527200 h 3304175"/>
              <a:gd name="connsiteX1" fmla="*/ 8040001 w 10080625"/>
              <a:gd name="connsiteY1" fmla="*/ 3198076 h 3304175"/>
              <a:gd name="connsiteX2" fmla="*/ 9963095 w 10080625"/>
              <a:gd name="connsiteY2" fmla="*/ 3198076 h 3304175"/>
              <a:gd name="connsiteX3" fmla="*/ 9963095 w 10080625"/>
              <a:gd name="connsiteY3" fmla="*/ 2527200 h 3304175"/>
              <a:gd name="connsiteX4" fmla="*/ 0 w 10080625"/>
              <a:gd name="connsiteY4" fmla="*/ 0 h 3304175"/>
              <a:gd name="connsiteX5" fmla="*/ 10080625 w 10080625"/>
              <a:gd name="connsiteY5" fmla="*/ 0 h 3304175"/>
              <a:gd name="connsiteX6" fmla="*/ 10080625 w 10080625"/>
              <a:gd name="connsiteY6" fmla="*/ 3304175 h 3304175"/>
              <a:gd name="connsiteX7" fmla="*/ 0 w 10080625"/>
              <a:gd name="connsiteY7" fmla="*/ 3304175 h 3304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80625" h="3304175">
                <a:moveTo>
                  <a:pt x="8040001" y="2527200"/>
                </a:moveTo>
                <a:lnTo>
                  <a:pt x="8040001" y="3198076"/>
                </a:lnTo>
                <a:lnTo>
                  <a:pt x="9963095" y="3198076"/>
                </a:lnTo>
                <a:lnTo>
                  <a:pt x="9963095" y="2527200"/>
                </a:lnTo>
                <a:close/>
                <a:moveTo>
                  <a:pt x="0" y="0"/>
                </a:moveTo>
                <a:lnTo>
                  <a:pt x="10080625" y="0"/>
                </a:lnTo>
                <a:lnTo>
                  <a:pt x="10080625" y="3304175"/>
                </a:lnTo>
                <a:lnTo>
                  <a:pt x="0" y="3304175"/>
                </a:lnTo>
                <a:close/>
              </a:path>
            </a:pathLst>
          </a:custGeom>
          <a:solidFill>
            <a:schemeClr val="bg2"/>
          </a:solidFill>
        </p:spPr>
        <p:txBody>
          <a:bodyPr wrap="square" lIns="352800" tIns="194400">
            <a:noAutofit/>
          </a:bodyPr>
          <a:lstStyle>
            <a:lvl1pPr>
              <a:defRPr sz="4800"/>
            </a:lvl1pPr>
          </a:lstStyle>
          <a:p>
            <a:r>
              <a:rPr lang="en-US"/>
              <a:t>Click to edit Master title style</a:t>
            </a:r>
            <a:endParaRPr lang="en-US" dirty="0"/>
          </a:p>
        </p:txBody>
      </p:sp>
      <p:sp>
        <p:nvSpPr>
          <p:cNvPr id="9" name="Subtitle 1">
            <a:extLst>
              <a:ext uri="{FF2B5EF4-FFF2-40B4-BE49-F238E27FC236}">
                <a16:creationId xmlns:a16="http://schemas.microsoft.com/office/drawing/2014/main" id="{C3F9BEB5-0A55-4E2D-A283-A64EEC73B566}"/>
              </a:ext>
            </a:extLst>
          </p:cNvPr>
          <p:cNvSpPr>
            <a:spLocks noGrp="1"/>
          </p:cNvSpPr>
          <p:nvPr>
            <p:ph type="subTitle" sz="quarter" idx="1"/>
          </p:nvPr>
        </p:nvSpPr>
        <p:spPr>
          <a:xfrm>
            <a:off x="361200" y="4887000"/>
            <a:ext cx="5637963" cy="388989"/>
          </a:xfrm>
        </p:spPr>
        <p:txBody>
          <a:bodyPr tIns="50800" anchor="b"/>
          <a:lstStyle>
            <a:lvl1pPr marL="0" indent="0">
              <a:lnSpc>
                <a:spcPct val="120000"/>
              </a:lnSpc>
              <a:spcBef>
                <a:spcPts val="0"/>
              </a:spcBef>
              <a:spcAft>
                <a:spcPts val="765"/>
              </a:spcAft>
              <a:buFontTx/>
              <a:buNone/>
              <a:defRPr sz="2000" baseline="0">
                <a:solidFill>
                  <a:schemeClr val="tx1"/>
                </a:solidFill>
                <a:latin typeface="+mn-lt"/>
                <a:cs typeface="+mn-cs"/>
              </a:defRPr>
            </a:lvl1pPr>
          </a:lstStyle>
          <a:p>
            <a:pPr lvl="0"/>
            <a:r>
              <a:rPr lang="en-US"/>
              <a:t>Click to edit Master subtitle style</a:t>
            </a:r>
            <a:endParaRPr lang="en-US" dirty="0"/>
          </a:p>
        </p:txBody>
      </p:sp>
      <p:sp>
        <p:nvSpPr>
          <p:cNvPr id="10" name="Text Placeholder 11">
            <a:extLst>
              <a:ext uri="{FF2B5EF4-FFF2-40B4-BE49-F238E27FC236}">
                <a16:creationId xmlns:a16="http://schemas.microsoft.com/office/drawing/2014/main" id="{B1B14E90-4F21-4322-8B8C-FB9A38952A95}"/>
              </a:ext>
            </a:extLst>
          </p:cNvPr>
          <p:cNvSpPr>
            <a:spLocks noGrp="1"/>
          </p:cNvSpPr>
          <p:nvPr>
            <p:ph type="body" sz="quarter" idx="11" hasCustomPrompt="1"/>
          </p:nvPr>
        </p:nvSpPr>
        <p:spPr>
          <a:xfrm>
            <a:off x="361200" y="5664600"/>
            <a:ext cx="5637963" cy="194400"/>
          </a:xfrm>
        </p:spPr>
        <p:txBody>
          <a:bodyPr anchor="b"/>
          <a:lstStyle>
            <a:lvl1pPr>
              <a:defRPr sz="1000" baseline="0">
                <a:latin typeface="+mn-lt"/>
                <a:cs typeface="+mn-cs"/>
              </a:defRPr>
            </a:lvl1pPr>
          </a:lstStyle>
          <a:p>
            <a:pPr lvl="0"/>
            <a:r>
              <a:rPr lang="en-US" dirty="0"/>
              <a:t>Presenter Name / Presenter Title / Date</a:t>
            </a:r>
          </a:p>
        </p:txBody>
      </p:sp>
      <p:sp>
        <p:nvSpPr>
          <p:cNvPr id="12" name="Date Placeholder (hidden)">
            <a:extLst>
              <a:ext uri="{FF2B5EF4-FFF2-40B4-BE49-F238E27FC236}">
                <a16:creationId xmlns:a16="http://schemas.microsoft.com/office/drawing/2014/main" id="{F77CB650-633E-4E6C-AF45-25FDE5B9590D}"/>
              </a:ext>
            </a:extLst>
          </p:cNvPr>
          <p:cNvSpPr>
            <a:spLocks noGrp="1"/>
          </p:cNvSpPr>
          <p:nvPr>
            <p:ph type="dt" sz="half" idx="2"/>
          </p:nvPr>
        </p:nvSpPr>
        <p:spPr/>
        <p:txBody>
          <a:bodyPr/>
          <a:lstStyle>
            <a:lvl1pPr>
              <a:defRPr baseline="0">
                <a:latin typeface="+mn-lt"/>
                <a:cs typeface="+mn-cs"/>
              </a:defRPr>
            </a:lvl1pPr>
          </a:lstStyle>
          <a:p>
            <a:fld id="{748832CA-DCD2-41B3-96D1-6E92E8FA8B22}" type="datetime1">
              <a:rPr lang="en-US"/>
              <a:pPr/>
              <a:t>1/29/2022</a:t>
            </a:fld>
            <a:endParaRPr lang="en-US" dirty="0"/>
          </a:p>
        </p:txBody>
      </p:sp>
      <p:sp>
        <p:nvSpPr>
          <p:cNvPr id="13" name="Footer Placeholder (special)">
            <a:extLst>
              <a:ext uri="{FF2B5EF4-FFF2-40B4-BE49-F238E27FC236}">
                <a16:creationId xmlns:a16="http://schemas.microsoft.com/office/drawing/2014/main" id="{91D7C20D-A990-4B26-A7AA-7B9DF208E956}"/>
              </a:ext>
            </a:extLst>
          </p:cNvPr>
          <p:cNvSpPr>
            <a:spLocks noGrp="1"/>
          </p:cNvSpPr>
          <p:nvPr>
            <p:ph type="ftr" sz="quarter" idx="3"/>
          </p:nvPr>
        </p:nvSpPr>
        <p:spPr>
          <a:xfrm>
            <a:off x="361200" y="6539400"/>
            <a:ext cx="5346700" cy="97939"/>
          </a:xfrm>
        </p:spPr>
        <p:txBody>
          <a:bodyPr/>
          <a:lstStyle>
            <a:lvl1pPr algn="l">
              <a:defRPr baseline="0">
                <a:solidFill>
                  <a:schemeClr val="tx1"/>
                </a:solidFill>
                <a:latin typeface="+mn-lt"/>
                <a:cs typeface="+mn-cs"/>
              </a:defRPr>
            </a:lvl1pPr>
          </a:lstStyle>
          <a:p>
            <a:r>
              <a:rPr lang="en-US"/>
              <a:t>© 2021 Software AG. All rights reserved. For internal use only and for Software AG Partners.</a:t>
            </a:r>
            <a:endParaRPr lang="en-US" dirty="0"/>
          </a:p>
        </p:txBody>
      </p:sp>
      <p:sp>
        <p:nvSpPr>
          <p:cNvPr id="14" name="Slide Number Placeholder (hidden)">
            <a:extLst>
              <a:ext uri="{FF2B5EF4-FFF2-40B4-BE49-F238E27FC236}">
                <a16:creationId xmlns:a16="http://schemas.microsoft.com/office/drawing/2014/main" id="{479DF1F2-C0C4-473D-97F7-A8F42001FA25}"/>
              </a:ext>
            </a:extLst>
          </p:cNvPr>
          <p:cNvSpPr>
            <a:spLocks noGrp="1"/>
          </p:cNvSpPr>
          <p:nvPr>
            <p:ph type="sldNum" sz="quarter" idx="4"/>
          </p:nvPr>
        </p:nvSpPr>
        <p:spPr>
          <a:xfrm>
            <a:off x="12186020" y="6852020"/>
            <a:ext cx="3600" cy="3600"/>
          </a:xfrm>
        </p:spPr>
        <p:txBody>
          <a:bodyPr/>
          <a:lstStyle>
            <a:lvl1pPr algn="r">
              <a:defRPr baseline="0">
                <a:noFill/>
              </a:defRPr>
            </a:lvl1pPr>
          </a:lstStyle>
          <a:p>
            <a:fld id="{22FF84AA-2C76-4AF1-8502-73D25D47F37C}" type="slidenum">
              <a:rPr lang="en-US"/>
              <a:pPr/>
              <a:t>‹#›</a:t>
            </a:fld>
            <a:endParaRPr lang="en-US" dirty="0"/>
          </a:p>
        </p:txBody>
      </p:sp>
      <p:sp>
        <p:nvSpPr>
          <p:cNvPr id="2" name="Dynamic SAG LOGO">
            <a:extLst>
              <a:ext uri="{FF2B5EF4-FFF2-40B4-BE49-F238E27FC236}">
                <a16:creationId xmlns:a16="http://schemas.microsoft.com/office/drawing/2014/main" id="{2EFAC376-49A2-4C3D-82FC-063423453905}"/>
              </a:ext>
            </a:extLst>
          </p:cNvPr>
          <p:cNvSpPr>
            <a:spLocks noChangeAspect="1" noEditPoints="1"/>
          </p:cNvSpPr>
          <p:nvPr userDrawn="1"/>
        </p:nvSpPr>
        <p:spPr bwMode="auto">
          <a:xfrm>
            <a:off x="8137525" y="5567400"/>
            <a:ext cx="1749426" cy="266702"/>
          </a:xfrm>
          <a:custGeom>
            <a:avLst/>
            <a:gdLst>
              <a:gd name="T0" fmla="*/ 1015 w 1141"/>
              <a:gd name="T1" fmla="*/ 164 h 174"/>
              <a:gd name="T2" fmla="*/ 1008 w 1141"/>
              <a:gd name="T3" fmla="*/ 148 h 174"/>
              <a:gd name="T4" fmla="*/ 962 w 1141"/>
              <a:gd name="T5" fmla="*/ 149 h 174"/>
              <a:gd name="T6" fmla="*/ 1019 w 1141"/>
              <a:gd name="T7" fmla="*/ 118 h 174"/>
              <a:gd name="T8" fmla="*/ 828 w 1141"/>
              <a:gd name="T9" fmla="*/ 96 h 174"/>
              <a:gd name="T10" fmla="*/ 737 w 1141"/>
              <a:gd name="T11" fmla="*/ 76 h 174"/>
              <a:gd name="T12" fmla="*/ 743 w 1141"/>
              <a:gd name="T13" fmla="*/ 93 h 174"/>
              <a:gd name="T14" fmla="*/ 794 w 1141"/>
              <a:gd name="T15" fmla="*/ 100 h 174"/>
              <a:gd name="T16" fmla="*/ 779 w 1141"/>
              <a:gd name="T17" fmla="*/ 174 h 174"/>
              <a:gd name="T18" fmla="*/ 198 w 1141"/>
              <a:gd name="T19" fmla="*/ 131 h 174"/>
              <a:gd name="T20" fmla="*/ 171 w 1141"/>
              <a:gd name="T21" fmla="*/ 148 h 174"/>
              <a:gd name="T22" fmla="*/ 165 w 1141"/>
              <a:gd name="T23" fmla="*/ 163 h 174"/>
              <a:gd name="T24" fmla="*/ 246 w 1141"/>
              <a:gd name="T25" fmla="*/ 139 h 174"/>
              <a:gd name="T26" fmla="*/ 214 w 1141"/>
              <a:gd name="T27" fmla="*/ 87 h 174"/>
              <a:gd name="T28" fmla="*/ 243 w 1141"/>
              <a:gd name="T29" fmla="*/ 75 h 174"/>
              <a:gd name="T30" fmla="*/ 165 w 1141"/>
              <a:gd name="T31" fmla="*/ 98 h 174"/>
              <a:gd name="T32" fmla="*/ 41 w 1141"/>
              <a:gd name="T33" fmla="*/ 72 h 174"/>
              <a:gd name="T34" fmla="*/ 66 w 1141"/>
              <a:gd name="T35" fmla="*/ 0 h 174"/>
              <a:gd name="T36" fmla="*/ 794 w 1141"/>
              <a:gd name="T37" fmla="*/ 152 h 174"/>
              <a:gd name="T38" fmla="*/ 794 w 1141"/>
              <a:gd name="T39" fmla="*/ 123 h 174"/>
              <a:gd name="T40" fmla="*/ 954 w 1141"/>
              <a:gd name="T41" fmla="*/ 98 h 174"/>
              <a:gd name="T42" fmla="*/ 987 w 1141"/>
              <a:gd name="T43" fmla="*/ 114 h 174"/>
              <a:gd name="T44" fmla="*/ 653 w 1141"/>
              <a:gd name="T45" fmla="*/ 151 h 174"/>
              <a:gd name="T46" fmla="*/ 619 w 1141"/>
              <a:gd name="T47" fmla="*/ 71 h 174"/>
              <a:gd name="T48" fmla="*/ 590 w 1141"/>
              <a:gd name="T49" fmla="*/ 71 h 174"/>
              <a:gd name="T50" fmla="*/ 502 w 1141"/>
              <a:gd name="T51" fmla="*/ 33 h 174"/>
              <a:gd name="T52" fmla="*/ 471 w 1141"/>
              <a:gd name="T53" fmla="*/ 68 h 174"/>
              <a:gd name="T54" fmla="*/ 437 w 1141"/>
              <a:gd name="T55" fmla="*/ 46 h 174"/>
              <a:gd name="T56" fmla="*/ 452 w 1141"/>
              <a:gd name="T57" fmla="*/ 45 h 174"/>
              <a:gd name="T58" fmla="*/ 426 w 1141"/>
              <a:gd name="T59" fmla="*/ 23 h 174"/>
              <a:gd name="T60" fmla="*/ 373 w 1141"/>
              <a:gd name="T61" fmla="*/ 71 h 174"/>
              <a:gd name="T62" fmla="*/ 391 w 1141"/>
              <a:gd name="T63" fmla="*/ 169 h 174"/>
              <a:gd name="T64" fmla="*/ 425 w 1141"/>
              <a:gd name="T65" fmla="*/ 91 h 174"/>
              <a:gd name="T66" fmla="*/ 533 w 1141"/>
              <a:gd name="T67" fmla="*/ 169 h 174"/>
              <a:gd name="T68" fmla="*/ 531 w 1141"/>
              <a:gd name="T69" fmla="*/ 148 h 174"/>
              <a:gd name="T70" fmla="*/ 505 w 1141"/>
              <a:gd name="T71" fmla="*/ 137 h 174"/>
              <a:gd name="T72" fmla="*/ 573 w 1141"/>
              <a:gd name="T73" fmla="*/ 170 h 174"/>
              <a:gd name="T74" fmla="*/ 715 w 1141"/>
              <a:gd name="T75" fmla="*/ 144 h 174"/>
              <a:gd name="T76" fmla="*/ 682 w 1141"/>
              <a:gd name="T77" fmla="*/ 71 h 174"/>
              <a:gd name="T78" fmla="*/ 908 w 1141"/>
              <a:gd name="T79" fmla="*/ 66 h 174"/>
              <a:gd name="T80" fmla="*/ 852 w 1141"/>
              <a:gd name="T81" fmla="*/ 169 h 174"/>
              <a:gd name="T82" fmla="*/ 886 w 1141"/>
              <a:gd name="T83" fmla="*/ 92 h 174"/>
              <a:gd name="T84" fmla="*/ 313 w 1141"/>
              <a:gd name="T85" fmla="*/ 174 h 174"/>
              <a:gd name="T86" fmla="*/ 296 w 1141"/>
              <a:gd name="T87" fmla="*/ 120 h 174"/>
              <a:gd name="T88" fmla="*/ 296 w 1141"/>
              <a:gd name="T89" fmla="*/ 120 h 174"/>
              <a:gd name="T90" fmla="*/ 1064 w 1141"/>
              <a:gd name="T91" fmla="*/ 92 h 174"/>
              <a:gd name="T92" fmla="*/ 1125 w 1141"/>
              <a:gd name="T93" fmla="*/ 106 h 174"/>
              <a:gd name="T94" fmla="*/ 1138 w 1141"/>
              <a:gd name="T95" fmla="*/ 76 h 174"/>
              <a:gd name="T96" fmla="*/ 1141 w 1141"/>
              <a:gd name="T97" fmla="*/ 71 h 174"/>
              <a:gd name="T98" fmla="*/ 1125 w 1141"/>
              <a:gd name="T99" fmla="*/ 113 h 174"/>
              <a:gd name="T100" fmla="*/ 1141 w 1141"/>
              <a:gd name="T101" fmla="*/ 88 h 174"/>
              <a:gd name="T102" fmla="*/ 1123 w 1141"/>
              <a:gd name="T103" fmla="*/ 94 h 174"/>
              <a:gd name="T104" fmla="*/ 1062 w 1141"/>
              <a:gd name="T105" fmla="*/ 68 h 174"/>
              <a:gd name="T106" fmla="*/ 1048 w 1141"/>
              <a:gd name="T107" fmla="*/ 112 h 174"/>
              <a:gd name="T108" fmla="*/ 1080 w 1141"/>
              <a:gd name="T109" fmla="*/ 99 h 174"/>
              <a:gd name="T110" fmla="*/ 1094 w 1141"/>
              <a:gd name="T111" fmla="*/ 112 h 174"/>
              <a:gd name="T112" fmla="*/ 70 w 1141"/>
              <a:gd name="T113" fmla="*/ 68 h 174"/>
              <a:gd name="T114" fmla="*/ 21 w 1141"/>
              <a:gd name="T115" fmla="*/ 172 h 174"/>
              <a:gd name="T116" fmla="*/ 70 w 1141"/>
              <a:gd name="T117" fmla="*/ 6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41" h="174">
                <a:moveTo>
                  <a:pt x="919" y="120"/>
                </a:moveTo>
                <a:cubicBezTo>
                  <a:pt x="919" y="160"/>
                  <a:pt x="937" y="174"/>
                  <a:pt x="975" y="174"/>
                </a:cubicBezTo>
                <a:cubicBezTo>
                  <a:pt x="992" y="174"/>
                  <a:pt x="1006" y="169"/>
                  <a:pt x="1012" y="167"/>
                </a:cubicBezTo>
                <a:cubicBezTo>
                  <a:pt x="1014" y="167"/>
                  <a:pt x="1015" y="165"/>
                  <a:pt x="1015" y="164"/>
                </a:cubicBezTo>
                <a:cubicBezTo>
                  <a:pt x="1015" y="163"/>
                  <a:pt x="1015" y="163"/>
                  <a:pt x="1015" y="162"/>
                </a:cubicBezTo>
                <a:cubicBezTo>
                  <a:pt x="1012" y="151"/>
                  <a:pt x="1012" y="151"/>
                  <a:pt x="1012" y="151"/>
                </a:cubicBezTo>
                <a:cubicBezTo>
                  <a:pt x="1012" y="151"/>
                  <a:pt x="1012" y="151"/>
                  <a:pt x="1012" y="151"/>
                </a:cubicBezTo>
                <a:cubicBezTo>
                  <a:pt x="1011" y="148"/>
                  <a:pt x="1010" y="148"/>
                  <a:pt x="1008" y="148"/>
                </a:cubicBezTo>
                <a:cubicBezTo>
                  <a:pt x="1008" y="148"/>
                  <a:pt x="1007" y="148"/>
                  <a:pt x="1006" y="148"/>
                </a:cubicBezTo>
                <a:cubicBezTo>
                  <a:pt x="1006" y="148"/>
                  <a:pt x="1006" y="148"/>
                  <a:pt x="1006" y="148"/>
                </a:cubicBezTo>
                <a:cubicBezTo>
                  <a:pt x="1001" y="150"/>
                  <a:pt x="992" y="152"/>
                  <a:pt x="981" y="152"/>
                </a:cubicBezTo>
                <a:cubicBezTo>
                  <a:pt x="973" y="152"/>
                  <a:pt x="966" y="151"/>
                  <a:pt x="962" y="149"/>
                </a:cubicBezTo>
                <a:cubicBezTo>
                  <a:pt x="957" y="146"/>
                  <a:pt x="954" y="141"/>
                  <a:pt x="954" y="133"/>
                </a:cubicBezTo>
                <a:cubicBezTo>
                  <a:pt x="1015" y="133"/>
                  <a:pt x="1015" y="133"/>
                  <a:pt x="1015" y="133"/>
                </a:cubicBezTo>
                <a:cubicBezTo>
                  <a:pt x="1019" y="133"/>
                  <a:pt x="1019" y="130"/>
                  <a:pt x="1019" y="127"/>
                </a:cubicBezTo>
                <a:cubicBezTo>
                  <a:pt x="1019" y="118"/>
                  <a:pt x="1019" y="118"/>
                  <a:pt x="1019" y="118"/>
                </a:cubicBezTo>
                <a:cubicBezTo>
                  <a:pt x="1019" y="100"/>
                  <a:pt x="1016" y="86"/>
                  <a:pt x="1009" y="78"/>
                </a:cubicBezTo>
                <a:cubicBezTo>
                  <a:pt x="1001" y="70"/>
                  <a:pt x="988" y="66"/>
                  <a:pt x="970" y="66"/>
                </a:cubicBezTo>
                <a:cubicBezTo>
                  <a:pt x="932" y="66"/>
                  <a:pt x="919" y="80"/>
                  <a:pt x="919" y="120"/>
                </a:cubicBezTo>
                <a:moveTo>
                  <a:pt x="828" y="96"/>
                </a:moveTo>
                <a:cubicBezTo>
                  <a:pt x="828" y="85"/>
                  <a:pt x="824" y="77"/>
                  <a:pt x="815" y="71"/>
                </a:cubicBezTo>
                <a:cubicBezTo>
                  <a:pt x="808" y="67"/>
                  <a:pt x="798" y="66"/>
                  <a:pt x="784" y="66"/>
                </a:cubicBezTo>
                <a:cubicBezTo>
                  <a:pt x="763" y="66"/>
                  <a:pt x="743" y="71"/>
                  <a:pt x="740" y="73"/>
                </a:cubicBezTo>
                <a:cubicBezTo>
                  <a:pt x="738" y="73"/>
                  <a:pt x="737" y="74"/>
                  <a:pt x="737" y="76"/>
                </a:cubicBezTo>
                <a:cubicBezTo>
                  <a:pt x="737" y="76"/>
                  <a:pt x="737" y="76"/>
                  <a:pt x="737" y="76"/>
                </a:cubicBezTo>
                <a:cubicBezTo>
                  <a:pt x="737" y="76"/>
                  <a:pt x="737" y="77"/>
                  <a:pt x="737" y="77"/>
                </a:cubicBezTo>
                <a:cubicBezTo>
                  <a:pt x="741" y="92"/>
                  <a:pt x="741" y="92"/>
                  <a:pt x="741" y="92"/>
                </a:cubicBezTo>
                <a:cubicBezTo>
                  <a:pt x="741" y="93"/>
                  <a:pt x="742" y="93"/>
                  <a:pt x="743" y="93"/>
                </a:cubicBezTo>
                <a:cubicBezTo>
                  <a:pt x="743" y="93"/>
                  <a:pt x="743" y="93"/>
                  <a:pt x="744" y="93"/>
                </a:cubicBezTo>
                <a:cubicBezTo>
                  <a:pt x="748" y="92"/>
                  <a:pt x="764" y="88"/>
                  <a:pt x="776" y="88"/>
                </a:cubicBezTo>
                <a:cubicBezTo>
                  <a:pt x="783" y="88"/>
                  <a:pt x="787" y="88"/>
                  <a:pt x="790" y="89"/>
                </a:cubicBezTo>
                <a:cubicBezTo>
                  <a:pt x="793" y="91"/>
                  <a:pt x="794" y="94"/>
                  <a:pt x="794" y="100"/>
                </a:cubicBezTo>
                <a:cubicBezTo>
                  <a:pt x="794" y="104"/>
                  <a:pt x="794" y="104"/>
                  <a:pt x="794" y="104"/>
                </a:cubicBezTo>
                <a:cubicBezTo>
                  <a:pt x="760" y="109"/>
                  <a:pt x="760" y="109"/>
                  <a:pt x="760" y="109"/>
                </a:cubicBezTo>
                <a:cubicBezTo>
                  <a:pt x="747" y="111"/>
                  <a:pt x="731" y="115"/>
                  <a:pt x="731" y="140"/>
                </a:cubicBezTo>
                <a:cubicBezTo>
                  <a:pt x="731" y="170"/>
                  <a:pt x="755" y="174"/>
                  <a:pt x="779" y="174"/>
                </a:cubicBezTo>
                <a:cubicBezTo>
                  <a:pt x="791" y="174"/>
                  <a:pt x="800" y="173"/>
                  <a:pt x="808" y="171"/>
                </a:cubicBezTo>
                <a:cubicBezTo>
                  <a:pt x="821" y="168"/>
                  <a:pt x="828" y="166"/>
                  <a:pt x="828" y="151"/>
                </a:cubicBezTo>
                <a:lnTo>
                  <a:pt x="828" y="96"/>
                </a:lnTo>
                <a:close/>
                <a:moveTo>
                  <a:pt x="198" y="131"/>
                </a:moveTo>
                <a:cubicBezTo>
                  <a:pt x="208" y="133"/>
                  <a:pt x="212" y="134"/>
                  <a:pt x="212" y="142"/>
                </a:cubicBezTo>
                <a:cubicBezTo>
                  <a:pt x="212" y="150"/>
                  <a:pt x="205" y="152"/>
                  <a:pt x="198" y="152"/>
                </a:cubicBezTo>
                <a:cubicBezTo>
                  <a:pt x="188" y="152"/>
                  <a:pt x="176" y="149"/>
                  <a:pt x="171" y="148"/>
                </a:cubicBezTo>
                <a:cubicBezTo>
                  <a:pt x="171" y="148"/>
                  <a:pt x="171" y="148"/>
                  <a:pt x="171" y="148"/>
                </a:cubicBezTo>
                <a:cubicBezTo>
                  <a:pt x="171" y="148"/>
                  <a:pt x="171" y="148"/>
                  <a:pt x="171" y="148"/>
                </a:cubicBezTo>
                <a:cubicBezTo>
                  <a:pt x="170" y="148"/>
                  <a:pt x="169" y="148"/>
                  <a:pt x="169" y="148"/>
                </a:cubicBezTo>
                <a:cubicBezTo>
                  <a:pt x="168" y="148"/>
                  <a:pt x="167" y="148"/>
                  <a:pt x="167" y="150"/>
                </a:cubicBezTo>
                <a:cubicBezTo>
                  <a:pt x="165" y="163"/>
                  <a:pt x="165" y="163"/>
                  <a:pt x="165" y="163"/>
                </a:cubicBezTo>
                <a:cubicBezTo>
                  <a:pt x="164" y="164"/>
                  <a:pt x="164" y="165"/>
                  <a:pt x="164" y="165"/>
                </a:cubicBezTo>
                <a:cubicBezTo>
                  <a:pt x="164" y="167"/>
                  <a:pt x="165" y="167"/>
                  <a:pt x="166" y="168"/>
                </a:cubicBezTo>
                <a:cubicBezTo>
                  <a:pt x="170" y="170"/>
                  <a:pt x="186" y="174"/>
                  <a:pt x="203" y="174"/>
                </a:cubicBezTo>
                <a:cubicBezTo>
                  <a:pt x="227" y="174"/>
                  <a:pt x="246" y="165"/>
                  <a:pt x="246" y="139"/>
                </a:cubicBezTo>
                <a:cubicBezTo>
                  <a:pt x="246" y="115"/>
                  <a:pt x="232" y="110"/>
                  <a:pt x="218" y="108"/>
                </a:cubicBezTo>
                <a:cubicBezTo>
                  <a:pt x="215" y="107"/>
                  <a:pt x="215" y="107"/>
                  <a:pt x="215" y="107"/>
                </a:cubicBezTo>
                <a:cubicBezTo>
                  <a:pt x="207" y="106"/>
                  <a:pt x="200" y="104"/>
                  <a:pt x="200" y="96"/>
                </a:cubicBezTo>
                <a:cubicBezTo>
                  <a:pt x="200" y="88"/>
                  <a:pt x="208" y="87"/>
                  <a:pt x="214" y="87"/>
                </a:cubicBezTo>
                <a:cubicBezTo>
                  <a:pt x="222" y="87"/>
                  <a:pt x="230" y="88"/>
                  <a:pt x="234" y="89"/>
                </a:cubicBezTo>
                <a:cubicBezTo>
                  <a:pt x="236" y="90"/>
                  <a:pt x="237" y="90"/>
                  <a:pt x="238" y="90"/>
                </a:cubicBezTo>
                <a:cubicBezTo>
                  <a:pt x="239" y="90"/>
                  <a:pt x="240" y="89"/>
                  <a:pt x="240" y="88"/>
                </a:cubicBezTo>
                <a:cubicBezTo>
                  <a:pt x="241" y="83"/>
                  <a:pt x="242" y="79"/>
                  <a:pt x="243" y="75"/>
                </a:cubicBezTo>
                <a:cubicBezTo>
                  <a:pt x="243" y="75"/>
                  <a:pt x="243" y="74"/>
                  <a:pt x="243" y="73"/>
                </a:cubicBezTo>
                <a:cubicBezTo>
                  <a:pt x="243" y="71"/>
                  <a:pt x="242" y="70"/>
                  <a:pt x="239" y="69"/>
                </a:cubicBezTo>
                <a:cubicBezTo>
                  <a:pt x="234" y="68"/>
                  <a:pt x="222" y="66"/>
                  <a:pt x="209" y="66"/>
                </a:cubicBezTo>
                <a:cubicBezTo>
                  <a:pt x="191" y="66"/>
                  <a:pt x="165" y="68"/>
                  <a:pt x="165" y="98"/>
                </a:cubicBezTo>
                <a:cubicBezTo>
                  <a:pt x="165" y="124"/>
                  <a:pt x="183" y="128"/>
                  <a:pt x="196" y="131"/>
                </a:cubicBezTo>
                <a:lnTo>
                  <a:pt x="198" y="131"/>
                </a:lnTo>
                <a:close/>
                <a:moveTo>
                  <a:pt x="41" y="106"/>
                </a:moveTo>
                <a:cubicBezTo>
                  <a:pt x="41" y="72"/>
                  <a:pt x="41" y="72"/>
                  <a:pt x="41" y="72"/>
                </a:cubicBezTo>
                <a:cubicBezTo>
                  <a:pt x="41" y="50"/>
                  <a:pt x="50" y="40"/>
                  <a:pt x="70" y="40"/>
                </a:cubicBezTo>
                <a:cubicBezTo>
                  <a:pt x="84" y="40"/>
                  <a:pt x="84" y="40"/>
                  <a:pt x="84" y="40"/>
                </a:cubicBezTo>
                <a:cubicBezTo>
                  <a:pt x="89" y="0"/>
                  <a:pt x="89" y="0"/>
                  <a:pt x="89" y="0"/>
                </a:cubicBezTo>
                <a:cubicBezTo>
                  <a:pt x="66" y="0"/>
                  <a:pt x="66" y="0"/>
                  <a:pt x="66" y="0"/>
                </a:cubicBezTo>
                <a:cubicBezTo>
                  <a:pt x="26" y="0"/>
                  <a:pt x="0" y="29"/>
                  <a:pt x="0" y="69"/>
                </a:cubicBezTo>
                <a:cubicBezTo>
                  <a:pt x="0" y="106"/>
                  <a:pt x="0" y="106"/>
                  <a:pt x="0" y="106"/>
                </a:cubicBezTo>
                <a:lnTo>
                  <a:pt x="41" y="106"/>
                </a:lnTo>
                <a:close/>
                <a:moveTo>
                  <a:pt x="794" y="152"/>
                </a:moveTo>
                <a:cubicBezTo>
                  <a:pt x="793" y="152"/>
                  <a:pt x="787" y="153"/>
                  <a:pt x="780" y="153"/>
                </a:cubicBezTo>
                <a:cubicBezTo>
                  <a:pt x="773" y="153"/>
                  <a:pt x="763" y="152"/>
                  <a:pt x="763" y="139"/>
                </a:cubicBezTo>
                <a:cubicBezTo>
                  <a:pt x="763" y="128"/>
                  <a:pt x="769" y="127"/>
                  <a:pt x="776" y="126"/>
                </a:cubicBezTo>
                <a:cubicBezTo>
                  <a:pt x="794" y="123"/>
                  <a:pt x="794" y="123"/>
                  <a:pt x="794" y="123"/>
                </a:cubicBezTo>
                <a:lnTo>
                  <a:pt x="794" y="152"/>
                </a:lnTo>
                <a:close/>
                <a:moveTo>
                  <a:pt x="953" y="114"/>
                </a:moveTo>
                <a:cubicBezTo>
                  <a:pt x="953" y="112"/>
                  <a:pt x="953" y="112"/>
                  <a:pt x="953" y="112"/>
                </a:cubicBezTo>
                <a:cubicBezTo>
                  <a:pt x="953" y="109"/>
                  <a:pt x="953" y="103"/>
                  <a:pt x="954" y="98"/>
                </a:cubicBezTo>
                <a:cubicBezTo>
                  <a:pt x="956" y="92"/>
                  <a:pt x="959" y="87"/>
                  <a:pt x="970" y="87"/>
                </a:cubicBezTo>
                <a:cubicBezTo>
                  <a:pt x="979" y="87"/>
                  <a:pt x="984" y="91"/>
                  <a:pt x="986" y="97"/>
                </a:cubicBezTo>
                <a:cubicBezTo>
                  <a:pt x="987" y="101"/>
                  <a:pt x="987" y="107"/>
                  <a:pt x="987" y="111"/>
                </a:cubicBezTo>
                <a:cubicBezTo>
                  <a:pt x="987" y="114"/>
                  <a:pt x="987" y="114"/>
                  <a:pt x="987" y="114"/>
                </a:cubicBezTo>
                <a:lnTo>
                  <a:pt x="953" y="114"/>
                </a:lnTo>
                <a:close/>
                <a:moveTo>
                  <a:pt x="682" y="139"/>
                </a:moveTo>
                <a:cubicBezTo>
                  <a:pt x="682" y="150"/>
                  <a:pt x="675" y="153"/>
                  <a:pt x="667" y="153"/>
                </a:cubicBezTo>
                <a:cubicBezTo>
                  <a:pt x="660" y="153"/>
                  <a:pt x="653" y="151"/>
                  <a:pt x="653" y="151"/>
                </a:cubicBezTo>
                <a:cubicBezTo>
                  <a:pt x="653" y="71"/>
                  <a:pt x="653" y="71"/>
                  <a:pt x="653" y="71"/>
                </a:cubicBezTo>
                <a:cubicBezTo>
                  <a:pt x="653" y="69"/>
                  <a:pt x="652" y="68"/>
                  <a:pt x="650" y="68"/>
                </a:cubicBezTo>
                <a:cubicBezTo>
                  <a:pt x="621" y="68"/>
                  <a:pt x="621" y="68"/>
                  <a:pt x="621" y="68"/>
                </a:cubicBezTo>
                <a:cubicBezTo>
                  <a:pt x="620" y="68"/>
                  <a:pt x="619" y="69"/>
                  <a:pt x="619" y="71"/>
                </a:cubicBezTo>
                <a:cubicBezTo>
                  <a:pt x="619" y="139"/>
                  <a:pt x="619" y="139"/>
                  <a:pt x="619" y="139"/>
                </a:cubicBezTo>
                <a:cubicBezTo>
                  <a:pt x="619" y="150"/>
                  <a:pt x="615" y="153"/>
                  <a:pt x="607" y="153"/>
                </a:cubicBezTo>
                <a:cubicBezTo>
                  <a:pt x="600" y="153"/>
                  <a:pt x="590" y="151"/>
                  <a:pt x="590" y="151"/>
                </a:cubicBezTo>
                <a:cubicBezTo>
                  <a:pt x="590" y="71"/>
                  <a:pt x="590" y="71"/>
                  <a:pt x="590" y="71"/>
                </a:cubicBezTo>
                <a:cubicBezTo>
                  <a:pt x="590" y="69"/>
                  <a:pt x="589" y="68"/>
                  <a:pt x="587" y="68"/>
                </a:cubicBezTo>
                <a:cubicBezTo>
                  <a:pt x="505" y="68"/>
                  <a:pt x="505" y="68"/>
                  <a:pt x="505" y="68"/>
                </a:cubicBezTo>
                <a:cubicBezTo>
                  <a:pt x="505" y="36"/>
                  <a:pt x="505" y="36"/>
                  <a:pt x="505" y="36"/>
                </a:cubicBezTo>
                <a:cubicBezTo>
                  <a:pt x="505" y="34"/>
                  <a:pt x="504" y="33"/>
                  <a:pt x="502" y="33"/>
                </a:cubicBezTo>
                <a:cubicBezTo>
                  <a:pt x="501" y="33"/>
                  <a:pt x="500" y="33"/>
                  <a:pt x="500" y="33"/>
                </a:cubicBezTo>
                <a:cubicBezTo>
                  <a:pt x="475" y="37"/>
                  <a:pt x="475" y="37"/>
                  <a:pt x="475" y="37"/>
                </a:cubicBezTo>
                <a:cubicBezTo>
                  <a:pt x="472" y="38"/>
                  <a:pt x="471" y="40"/>
                  <a:pt x="471" y="42"/>
                </a:cubicBezTo>
                <a:cubicBezTo>
                  <a:pt x="471" y="68"/>
                  <a:pt x="471" y="68"/>
                  <a:pt x="471" y="68"/>
                </a:cubicBezTo>
                <a:cubicBezTo>
                  <a:pt x="425" y="68"/>
                  <a:pt x="425" y="68"/>
                  <a:pt x="425" y="68"/>
                </a:cubicBezTo>
                <a:cubicBezTo>
                  <a:pt x="425" y="57"/>
                  <a:pt x="425" y="57"/>
                  <a:pt x="425" y="57"/>
                </a:cubicBezTo>
                <a:cubicBezTo>
                  <a:pt x="425" y="53"/>
                  <a:pt x="426" y="50"/>
                  <a:pt x="427" y="49"/>
                </a:cubicBezTo>
                <a:cubicBezTo>
                  <a:pt x="430" y="47"/>
                  <a:pt x="432" y="46"/>
                  <a:pt x="437" y="46"/>
                </a:cubicBezTo>
                <a:cubicBezTo>
                  <a:pt x="440" y="46"/>
                  <a:pt x="445" y="47"/>
                  <a:pt x="447" y="47"/>
                </a:cubicBezTo>
                <a:cubicBezTo>
                  <a:pt x="447" y="47"/>
                  <a:pt x="448" y="47"/>
                  <a:pt x="448" y="47"/>
                </a:cubicBezTo>
                <a:cubicBezTo>
                  <a:pt x="449" y="48"/>
                  <a:pt x="450" y="48"/>
                  <a:pt x="451" y="48"/>
                </a:cubicBezTo>
                <a:cubicBezTo>
                  <a:pt x="452" y="48"/>
                  <a:pt x="452" y="47"/>
                  <a:pt x="452" y="45"/>
                </a:cubicBezTo>
                <a:cubicBezTo>
                  <a:pt x="455" y="31"/>
                  <a:pt x="455" y="31"/>
                  <a:pt x="455" y="31"/>
                </a:cubicBezTo>
                <a:cubicBezTo>
                  <a:pt x="455" y="31"/>
                  <a:pt x="455" y="30"/>
                  <a:pt x="455" y="29"/>
                </a:cubicBezTo>
                <a:cubicBezTo>
                  <a:pt x="455" y="28"/>
                  <a:pt x="454" y="27"/>
                  <a:pt x="453" y="26"/>
                </a:cubicBezTo>
                <a:cubicBezTo>
                  <a:pt x="450" y="26"/>
                  <a:pt x="441" y="23"/>
                  <a:pt x="426" y="23"/>
                </a:cubicBezTo>
                <a:cubicBezTo>
                  <a:pt x="402" y="23"/>
                  <a:pt x="391" y="34"/>
                  <a:pt x="391" y="55"/>
                </a:cubicBezTo>
                <a:cubicBezTo>
                  <a:pt x="391" y="68"/>
                  <a:pt x="391" y="68"/>
                  <a:pt x="391" y="68"/>
                </a:cubicBezTo>
                <a:cubicBezTo>
                  <a:pt x="376" y="68"/>
                  <a:pt x="376" y="68"/>
                  <a:pt x="376" y="68"/>
                </a:cubicBezTo>
                <a:cubicBezTo>
                  <a:pt x="374" y="68"/>
                  <a:pt x="373" y="69"/>
                  <a:pt x="373" y="71"/>
                </a:cubicBezTo>
                <a:cubicBezTo>
                  <a:pt x="373" y="89"/>
                  <a:pt x="373" y="89"/>
                  <a:pt x="373" y="89"/>
                </a:cubicBezTo>
                <a:cubicBezTo>
                  <a:pt x="373" y="90"/>
                  <a:pt x="374" y="91"/>
                  <a:pt x="376" y="91"/>
                </a:cubicBezTo>
                <a:cubicBezTo>
                  <a:pt x="391" y="91"/>
                  <a:pt x="391" y="91"/>
                  <a:pt x="391" y="91"/>
                </a:cubicBezTo>
                <a:cubicBezTo>
                  <a:pt x="391" y="169"/>
                  <a:pt x="391" y="169"/>
                  <a:pt x="391" y="169"/>
                </a:cubicBezTo>
                <a:cubicBezTo>
                  <a:pt x="391" y="170"/>
                  <a:pt x="392" y="171"/>
                  <a:pt x="393" y="171"/>
                </a:cubicBezTo>
                <a:cubicBezTo>
                  <a:pt x="422" y="171"/>
                  <a:pt x="422" y="171"/>
                  <a:pt x="422" y="171"/>
                </a:cubicBezTo>
                <a:cubicBezTo>
                  <a:pt x="424" y="171"/>
                  <a:pt x="425" y="170"/>
                  <a:pt x="425" y="169"/>
                </a:cubicBezTo>
                <a:cubicBezTo>
                  <a:pt x="425" y="91"/>
                  <a:pt x="425" y="91"/>
                  <a:pt x="425" y="91"/>
                </a:cubicBezTo>
                <a:cubicBezTo>
                  <a:pt x="471" y="91"/>
                  <a:pt x="471" y="91"/>
                  <a:pt x="471" y="91"/>
                </a:cubicBezTo>
                <a:cubicBezTo>
                  <a:pt x="471" y="139"/>
                  <a:pt x="471" y="139"/>
                  <a:pt x="471" y="139"/>
                </a:cubicBezTo>
                <a:cubicBezTo>
                  <a:pt x="471" y="164"/>
                  <a:pt x="484" y="173"/>
                  <a:pt x="508" y="173"/>
                </a:cubicBezTo>
                <a:cubicBezTo>
                  <a:pt x="522" y="173"/>
                  <a:pt x="531" y="170"/>
                  <a:pt x="533" y="169"/>
                </a:cubicBezTo>
                <a:cubicBezTo>
                  <a:pt x="535" y="169"/>
                  <a:pt x="536" y="168"/>
                  <a:pt x="536" y="166"/>
                </a:cubicBezTo>
                <a:cubicBezTo>
                  <a:pt x="536" y="165"/>
                  <a:pt x="536" y="164"/>
                  <a:pt x="536" y="164"/>
                </a:cubicBezTo>
                <a:cubicBezTo>
                  <a:pt x="533" y="150"/>
                  <a:pt x="533" y="150"/>
                  <a:pt x="533" y="150"/>
                </a:cubicBezTo>
                <a:cubicBezTo>
                  <a:pt x="532" y="149"/>
                  <a:pt x="532" y="148"/>
                  <a:pt x="531" y="148"/>
                </a:cubicBezTo>
                <a:cubicBezTo>
                  <a:pt x="531" y="148"/>
                  <a:pt x="530" y="148"/>
                  <a:pt x="529" y="148"/>
                </a:cubicBezTo>
                <a:cubicBezTo>
                  <a:pt x="529" y="148"/>
                  <a:pt x="529" y="148"/>
                  <a:pt x="528" y="148"/>
                </a:cubicBezTo>
                <a:cubicBezTo>
                  <a:pt x="526" y="149"/>
                  <a:pt x="522" y="149"/>
                  <a:pt x="517" y="149"/>
                </a:cubicBezTo>
                <a:cubicBezTo>
                  <a:pt x="507" y="149"/>
                  <a:pt x="505" y="144"/>
                  <a:pt x="505" y="137"/>
                </a:cubicBezTo>
                <a:cubicBezTo>
                  <a:pt x="505" y="92"/>
                  <a:pt x="505" y="92"/>
                  <a:pt x="505" y="92"/>
                </a:cubicBezTo>
                <a:cubicBezTo>
                  <a:pt x="556" y="92"/>
                  <a:pt x="556" y="92"/>
                  <a:pt x="556" y="92"/>
                </a:cubicBezTo>
                <a:cubicBezTo>
                  <a:pt x="556" y="159"/>
                  <a:pt x="556" y="159"/>
                  <a:pt x="556" y="159"/>
                </a:cubicBezTo>
                <a:cubicBezTo>
                  <a:pt x="556" y="165"/>
                  <a:pt x="562" y="168"/>
                  <a:pt x="573" y="170"/>
                </a:cubicBezTo>
                <a:cubicBezTo>
                  <a:pt x="582" y="172"/>
                  <a:pt x="594" y="174"/>
                  <a:pt x="604" y="174"/>
                </a:cubicBezTo>
                <a:cubicBezTo>
                  <a:pt x="616" y="174"/>
                  <a:pt x="628" y="172"/>
                  <a:pt x="637" y="165"/>
                </a:cubicBezTo>
                <a:cubicBezTo>
                  <a:pt x="649" y="172"/>
                  <a:pt x="662" y="174"/>
                  <a:pt x="675" y="174"/>
                </a:cubicBezTo>
                <a:cubicBezTo>
                  <a:pt x="699" y="174"/>
                  <a:pt x="715" y="168"/>
                  <a:pt x="715" y="144"/>
                </a:cubicBezTo>
                <a:cubicBezTo>
                  <a:pt x="715" y="71"/>
                  <a:pt x="715" y="71"/>
                  <a:pt x="715" y="71"/>
                </a:cubicBezTo>
                <a:cubicBezTo>
                  <a:pt x="715" y="69"/>
                  <a:pt x="714" y="68"/>
                  <a:pt x="713" y="68"/>
                </a:cubicBezTo>
                <a:cubicBezTo>
                  <a:pt x="684" y="68"/>
                  <a:pt x="684" y="68"/>
                  <a:pt x="684" y="68"/>
                </a:cubicBezTo>
                <a:cubicBezTo>
                  <a:pt x="683" y="68"/>
                  <a:pt x="682" y="69"/>
                  <a:pt x="682" y="71"/>
                </a:cubicBezTo>
                <a:lnTo>
                  <a:pt x="682" y="139"/>
                </a:lnTo>
                <a:close/>
                <a:moveTo>
                  <a:pt x="912" y="86"/>
                </a:moveTo>
                <a:cubicBezTo>
                  <a:pt x="912" y="70"/>
                  <a:pt x="912" y="70"/>
                  <a:pt x="912" y="70"/>
                </a:cubicBezTo>
                <a:cubicBezTo>
                  <a:pt x="912" y="67"/>
                  <a:pt x="911" y="66"/>
                  <a:pt x="908" y="66"/>
                </a:cubicBezTo>
                <a:cubicBezTo>
                  <a:pt x="905" y="66"/>
                  <a:pt x="905" y="66"/>
                  <a:pt x="905" y="66"/>
                </a:cubicBezTo>
                <a:cubicBezTo>
                  <a:pt x="893" y="66"/>
                  <a:pt x="879" y="67"/>
                  <a:pt x="870" y="69"/>
                </a:cubicBezTo>
                <a:cubicBezTo>
                  <a:pt x="858" y="72"/>
                  <a:pt x="852" y="74"/>
                  <a:pt x="852" y="81"/>
                </a:cubicBezTo>
                <a:cubicBezTo>
                  <a:pt x="852" y="169"/>
                  <a:pt x="852" y="169"/>
                  <a:pt x="852" y="169"/>
                </a:cubicBezTo>
                <a:cubicBezTo>
                  <a:pt x="852" y="170"/>
                  <a:pt x="853" y="171"/>
                  <a:pt x="855" y="171"/>
                </a:cubicBezTo>
                <a:cubicBezTo>
                  <a:pt x="884" y="171"/>
                  <a:pt x="884" y="171"/>
                  <a:pt x="884" y="171"/>
                </a:cubicBezTo>
                <a:cubicBezTo>
                  <a:pt x="885" y="171"/>
                  <a:pt x="886" y="170"/>
                  <a:pt x="886" y="169"/>
                </a:cubicBezTo>
                <a:cubicBezTo>
                  <a:pt x="886" y="92"/>
                  <a:pt x="886" y="92"/>
                  <a:pt x="886" y="92"/>
                </a:cubicBezTo>
                <a:cubicBezTo>
                  <a:pt x="888" y="91"/>
                  <a:pt x="897" y="90"/>
                  <a:pt x="909" y="90"/>
                </a:cubicBezTo>
                <a:cubicBezTo>
                  <a:pt x="912" y="90"/>
                  <a:pt x="912" y="88"/>
                  <a:pt x="912" y="86"/>
                </a:cubicBezTo>
                <a:moveTo>
                  <a:pt x="261" y="120"/>
                </a:moveTo>
                <a:cubicBezTo>
                  <a:pt x="261" y="150"/>
                  <a:pt x="268" y="174"/>
                  <a:pt x="313" y="174"/>
                </a:cubicBezTo>
                <a:cubicBezTo>
                  <a:pt x="358" y="174"/>
                  <a:pt x="364" y="150"/>
                  <a:pt x="364" y="120"/>
                </a:cubicBezTo>
                <a:cubicBezTo>
                  <a:pt x="364" y="89"/>
                  <a:pt x="358" y="66"/>
                  <a:pt x="313" y="66"/>
                </a:cubicBezTo>
                <a:cubicBezTo>
                  <a:pt x="268" y="66"/>
                  <a:pt x="261" y="89"/>
                  <a:pt x="261" y="120"/>
                </a:cubicBezTo>
                <a:moveTo>
                  <a:pt x="296" y="120"/>
                </a:moveTo>
                <a:cubicBezTo>
                  <a:pt x="296" y="97"/>
                  <a:pt x="297" y="88"/>
                  <a:pt x="313" y="88"/>
                </a:cubicBezTo>
                <a:cubicBezTo>
                  <a:pt x="328" y="88"/>
                  <a:pt x="329" y="97"/>
                  <a:pt x="329" y="120"/>
                </a:cubicBezTo>
                <a:cubicBezTo>
                  <a:pt x="329" y="143"/>
                  <a:pt x="328" y="152"/>
                  <a:pt x="313" y="152"/>
                </a:cubicBezTo>
                <a:cubicBezTo>
                  <a:pt x="297" y="152"/>
                  <a:pt x="296" y="143"/>
                  <a:pt x="296" y="120"/>
                </a:cubicBezTo>
                <a:moveTo>
                  <a:pt x="1069" y="75"/>
                </a:moveTo>
                <a:cubicBezTo>
                  <a:pt x="1073" y="75"/>
                  <a:pt x="1073" y="75"/>
                  <a:pt x="1073" y="75"/>
                </a:cubicBezTo>
                <a:cubicBezTo>
                  <a:pt x="1078" y="92"/>
                  <a:pt x="1078" y="92"/>
                  <a:pt x="1078" y="92"/>
                </a:cubicBezTo>
                <a:cubicBezTo>
                  <a:pt x="1064" y="92"/>
                  <a:pt x="1064" y="92"/>
                  <a:pt x="1064" y="92"/>
                </a:cubicBezTo>
                <a:lnTo>
                  <a:pt x="1069" y="75"/>
                </a:lnTo>
                <a:close/>
                <a:moveTo>
                  <a:pt x="1131" y="95"/>
                </a:moveTo>
                <a:cubicBezTo>
                  <a:pt x="1131" y="106"/>
                  <a:pt x="1131" y="106"/>
                  <a:pt x="1131" y="106"/>
                </a:cubicBezTo>
                <a:cubicBezTo>
                  <a:pt x="1131" y="106"/>
                  <a:pt x="1128" y="106"/>
                  <a:pt x="1125" y="106"/>
                </a:cubicBezTo>
                <a:cubicBezTo>
                  <a:pt x="1117" y="106"/>
                  <a:pt x="1112" y="104"/>
                  <a:pt x="1112" y="91"/>
                </a:cubicBezTo>
                <a:cubicBezTo>
                  <a:pt x="1112" y="77"/>
                  <a:pt x="1117" y="75"/>
                  <a:pt x="1126" y="75"/>
                </a:cubicBezTo>
                <a:cubicBezTo>
                  <a:pt x="1130" y="75"/>
                  <a:pt x="1134" y="76"/>
                  <a:pt x="1137" y="76"/>
                </a:cubicBezTo>
                <a:cubicBezTo>
                  <a:pt x="1137" y="76"/>
                  <a:pt x="1138" y="76"/>
                  <a:pt x="1138" y="76"/>
                </a:cubicBezTo>
                <a:cubicBezTo>
                  <a:pt x="1138" y="76"/>
                  <a:pt x="1139" y="76"/>
                  <a:pt x="1139" y="76"/>
                </a:cubicBezTo>
                <a:cubicBezTo>
                  <a:pt x="1140" y="76"/>
                  <a:pt x="1140" y="76"/>
                  <a:pt x="1140" y="75"/>
                </a:cubicBezTo>
                <a:cubicBezTo>
                  <a:pt x="1141" y="72"/>
                  <a:pt x="1141" y="72"/>
                  <a:pt x="1141" y="72"/>
                </a:cubicBezTo>
                <a:cubicBezTo>
                  <a:pt x="1141" y="72"/>
                  <a:pt x="1141" y="71"/>
                  <a:pt x="1141" y="71"/>
                </a:cubicBezTo>
                <a:cubicBezTo>
                  <a:pt x="1141" y="70"/>
                  <a:pt x="1140" y="70"/>
                  <a:pt x="1140" y="70"/>
                </a:cubicBezTo>
                <a:cubicBezTo>
                  <a:pt x="1139" y="69"/>
                  <a:pt x="1132" y="67"/>
                  <a:pt x="1124" y="67"/>
                </a:cubicBezTo>
                <a:cubicBezTo>
                  <a:pt x="1108" y="67"/>
                  <a:pt x="1101" y="73"/>
                  <a:pt x="1101" y="90"/>
                </a:cubicBezTo>
                <a:cubicBezTo>
                  <a:pt x="1101" y="107"/>
                  <a:pt x="1107" y="113"/>
                  <a:pt x="1125" y="113"/>
                </a:cubicBezTo>
                <a:cubicBezTo>
                  <a:pt x="1129" y="113"/>
                  <a:pt x="1135" y="112"/>
                  <a:pt x="1137" y="112"/>
                </a:cubicBezTo>
                <a:cubicBezTo>
                  <a:pt x="1137" y="112"/>
                  <a:pt x="1137" y="112"/>
                  <a:pt x="1137" y="112"/>
                </a:cubicBezTo>
                <a:cubicBezTo>
                  <a:pt x="1140" y="111"/>
                  <a:pt x="1141" y="110"/>
                  <a:pt x="1141" y="107"/>
                </a:cubicBezTo>
                <a:cubicBezTo>
                  <a:pt x="1141" y="88"/>
                  <a:pt x="1141" y="88"/>
                  <a:pt x="1141" y="88"/>
                </a:cubicBezTo>
                <a:cubicBezTo>
                  <a:pt x="1141" y="88"/>
                  <a:pt x="1141" y="88"/>
                  <a:pt x="1140" y="88"/>
                </a:cubicBezTo>
                <a:cubicBezTo>
                  <a:pt x="1124" y="88"/>
                  <a:pt x="1124" y="88"/>
                  <a:pt x="1124" y="88"/>
                </a:cubicBezTo>
                <a:cubicBezTo>
                  <a:pt x="1123" y="88"/>
                  <a:pt x="1123" y="88"/>
                  <a:pt x="1123" y="88"/>
                </a:cubicBezTo>
                <a:cubicBezTo>
                  <a:pt x="1123" y="94"/>
                  <a:pt x="1123" y="94"/>
                  <a:pt x="1123" y="94"/>
                </a:cubicBezTo>
                <a:cubicBezTo>
                  <a:pt x="1123" y="94"/>
                  <a:pt x="1123" y="95"/>
                  <a:pt x="1124" y="95"/>
                </a:cubicBezTo>
                <a:lnTo>
                  <a:pt x="1131" y="95"/>
                </a:lnTo>
                <a:close/>
                <a:moveTo>
                  <a:pt x="1079" y="68"/>
                </a:moveTo>
                <a:cubicBezTo>
                  <a:pt x="1062" y="68"/>
                  <a:pt x="1062" y="68"/>
                  <a:pt x="1062" y="68"/>
                </a:cubicBezTo>
                <a:cubicBezTo>
                  <a:pt x="1062" y="68"/>
                  <a:pt x="1062" y="69"/>
                  <a:pt x="1062" y="69"/>
                </a:cubicBezTo>
                <a:cubicBezTo>
                  <a:pt x="1047" y="111"/>
                  <a:pt x="1047" y="111"/>
                  <a:pt x="1047" y="111"/>
                </a:cubicBezTo>
                <a:cubicBezTo>
                  <a:pt x="1047" y="111"/>
                  <a:pt x="1047" y="112"/>
                  <a:pt x="1047" y="112"/>
                </a:cubicBezTo>
                <a:cubicBezTo>
                  <a:pt x="1047" y="112"/>
                  <a:pt x="1047" y="112"/>
                  <a:pt x="1048" y="112"/>
                </a:cubicBezTo>
                <a:cubicBezTo>
                  <a:pt x="1058" y="112"/>
                  <a:pt x="1058" y="112"/>
                  <a:pt x="1058" y="112"/>
                </a:cubicBezTo>
                <a:cubicBezTo>
                  <a:pt x="1059" y="112"/>
                  <a:pt x="1059" y="112"/>
                  <a:pt x="1059" y="112"/>
                </a:cubicBezTo>
                <a:cubicBezTo>
                  <a:pt x="1062" y="99"/>
                  <a:pt x="1062" y="99"/>
                  <a:pt x="1062" y="99"/>
                </a:cubicBezTo>
                <a:cubicBezTo>
                  <a:pt x="1080" y="99"/>
                  <a:pt x="1080" y="99"/>
                  <a:pt x="1080" y="99"/>
                </a:cubicBezTo>
                <a:cubicBezTo>
                  <a:pt x="1083" y="112"/>
                  <a:pt x="1083" y="112"/>
                  <a:pt x="1083" y="112"/>
                </a:cubicBezTo>
                <a:cubicBezTo>
                  <a:pt x="1083" y="112"/>
                  <a:pt x="1083" y="112"/>
                  <a:pt x="1083" y="112"/>
                </a:cubicBezTo>
                <a:cubicBezTo>
                  <a:pt x="1093" y="112"/>
                  <a:pt x="1093" y="112"/>
                  <a:pt x="1093" y="112"/>
                </a:cubicBezTo>
                <a:cubicBezTo>
                  <a:pt x="1094" y="112"/>
                  <a:pt x="1094" y="112"/>
                  <a:pt x="1094" y="112"/>
                </a:cubicBezTo>
                <a:cubicBezTo>
                  <a:pt x="1094" y="112"/>
                  <a:pt x="1094" y="111"/>
                  <a:pt x="1094" y="111"/>
                </a:cubicBezTo>
                <a:cubicBezTo>
                  <a:pt x="1080" y="69"/>
                  <a:pt x="1080" y="69"/>
                  <a:pt x="1080" y="69"/>
                </a:cubicBezTo>
                <a:cubicBezTo>
                  <a:pt x="1080" y="69"/>
                  <a:pt x="1080" y="68"/>
                  <a:pt x="1079" y="68"/>
                </a:cubicBezTo>
                <a:moveTo>
                  <a:pt x="70" y="68"/>
                </a:moveTo>
                <a:cubicBezTo>
                  <a:pt x="70" y="98"/>
                  <a:pt x="70" y="98"/>
                  <a:pt x="70" y="98"/>
                </a:cubicBezTo>
                <a:cubicBezTo>
                  <a:pt x="70" y="119"/>
                  <a:pt x="61" y="132"/>
                  <a:pt x="41" y="132"/>
                </a:cubicBezTo>
                <a:cubicBezTo>
                  <a:pt x="26" y="132"/>
                  <a:pt x="26" y="132"/>
                  <a:pt x="26" y="132"/>
                </a:cubicBezTo>
                <a:cubicBezTo>
                  <a:pt x="21" y="172"/>
                  <a:pt x="21" y="172"/>
                  <a:pt x="21" y="172"/>
                </a:cubicBezTo>
                <a:cubicBezTo>
                  <a:pt x="43" y="172"/>
                  <a:pt x="43" y="172"/>
                  <a:pt x="43" y="172"/>
                </a:cubicBezTo>
                <a:cubicBezTo>
                  <a:pt x="81" y="172"/>
                  <a:pt x="111" y="145"/>
                  <a:pt x="111" y="101"/>
                </a:cubicBezTo>
                <a:cubicBezTo>
                  <a:pt x="111" y="68"/>
                  <a:pt x="111" y="68"/>
                  <a:pt x="111" y="68"/>
                </a:cubicBezTo>
                <a:lnTo>
                  <a:pt x="70" y="68"/>
                </a:lnTo>
                <a:close/>
              </a:path>
            </a:pathLst>
          </a:custGeom>
          <a:solidFill>
            <a:schemeClr val="tx2"/>
          </a:solidFill>
          <a:ln>
            <a:noFill/>
          </a:ln>
        </p:spPr>
        <p:txBody>
          <a:bodyPr vert="horz" wrap="square" lIns="121920" tIns="60960" rIns="121920" bIns="60960" numCol="1" anchor="t" anchorCtr="0" compatLnSpc="1">
            <a:prstTxWarp prst="textNoShape">
              <a:avLst/>
            </a:prstTxWarp>
          </a:bodyPr>
          <a:lstStyle/>
          <a:p>
            <a:pPr lvl="0"/>
            <a:endParaRPr lang="en-US" sz="2489" baseline="0" dirty="0">
              <a:solidFill>
                <a:srgbClr val="011F3D"/>
              </a:solidFill>
              <a:latin typeface="+mn-lt"/>
              <a:cs typeface="+mn-cs"/>
            </a:endParaRPr>
          </a:p>
        </p:txBody>
      </p:sp>
      <p:sp>
        <p:nvSpPr>
          <p:cNvPr id="18" name="Flight Mode" hidden="1">
            <a:extLst>
              <a:ext uri="{FF2B5EF4-FFF2-40B4-BE49-F238E27FC236}">
                <a16:creationId xmlns:a16="http://schemas.microsoft.com/office/drawing/2014/main" id="{A0060D9D-F166-4CB6-B129-FF4D2D156B2A}"/>
              </a:ext>
            </a:extLst>
          </p:cNvPr>
          <p:cNvSpPr/>
          <p:nvPr userDrawn="1">
            <p:custDataLst>
              <p:tags r:id="rId1"/>
            </p:custDataLst>
          </p:nvPr>
        </p:nvSpPr>
        <p:spPr>
          <a:xfrm>
            <a:off x="8021400" y="5366368"/>
            <a:ext cx="1981200" cy="701057"/>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lnSpc>
                <a:spcPct val="120000"/>
              </a:lnSpc>
              <a:spcAft>
                <a:spcPts val="700"/>
              </a:spcAft>
            </a:pPr>
            <a:endParaRPr lang="en-US" dirty="0">
              <a:solidFill>
                <a:schemeClr val="tx1"/>
              </a:solidFill>
            </a:endParaRPr>
          </a:p>
        </p:txBody>
      </p:sp>
      <p:sp>
        <p:nvSpPr>
          <p:cNvPr id="19" name="Layout Support" hidden="1">
            <a:extLst>
              <a:ext uri="{FF2B5EF4-FFF2-40B4-BE49-F238E27FC236}">
                <a16:creationId xmlns:a16="http://schemas.microsoft.com/office/drawing/2014/main" id="{B4F2A74C-24CE-444E-B063-53078D09A6FD}"/>
              </a:ext>
            </a:extLst>
          </p:cNvPr>
          <p:cNvSpPr txBox="1">
            <a:spLocks/>
          </p:cNvSpPr>
          <p:nvPr userDrawn="1">
            <p:custDataLst>
              <p:tags r:id="rId2"/>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L11101</a:t>
            </a:r>
          </a:p>
        </p:txBody>
      </p:sp>
    </p:spTree>
    <p:extLst>
      <p:ext uri="{BB962C8B-B14F-4D97-AF65-F5344CB8AC3E}">
        <p14:creationId xmlns:p14="http://schemas.microsoft.com/office/powerpoint/2010/main" val="756872347"/>
      </p:ext>
    </p:extLst>
  </p:cSld>
  <p:clrMapOvr>
    <a:overrideClrMapping bg1="lt1" tx1="dk1" bg2="lt2" tx2="dk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28">
          <p15:clr>
            <a:srgbClr val="547EBF"/>
          </p15:clr>
        </p15:guide>
        <p15:guide id="2" orient="horz" pos="1793">
          <p15:clr>
            <a:srgbClr val="547EBF"/>
          </p15:clr>
        </p15:guide>
        <p15:guide id="3" pos="6350">
          <p15:clr>
            <a:srgbClr val="547EBF"/>
          </p15:clr>
        </p15:guide>
        <p15:guide id="4" orient="horz" pos="3078">
          <p15:clr>
            <a:srgbClr val="547EBF"/>
          </p15:clr>
        </p15:guide>
        <p15:guide id="5" orient="horz" pos="3323">
          <p15:clr>
            <a:srgbClr val="547EBF"/>
          </p15:clr>
        </p15:guide>
        <p15:guide id="7" orient="horz" pos="3874">
          <p15:clr>
            <a:srgbClr val="547EBF"/>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4 Contents over Text" preserve="1">
  <p:cSld name="4 Contents over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13CD2D2-2519-4113-AE7A-DBE90434442F}"/>
              </a:ext>
            </a:extLst>
          </p:cNvPr>
          <p:cNvSpPr/>
          <p:nvPr userDrawn="1"/>
        </p:nvSpPr>
        <p:spPr>
          <a:xfrm>
            <a:off x="361200" y="1387800"/>
            <a:ext cx="2721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17" name="Rectangle 16">
            <a:extLst>
              <a:ext uri="{FF2B5EF4-FFF2-40B4-BE49-F238E27FC236}">
                <a16:creationId xmlns:a16="http://schemas.microsoft.com/office/drawing/2014/main" id="{5D6139A6-C607-42BA-BBF4-F150401A35C0}"/>
              </a:ext>
            </a:extLst>
          </p:cNvPr>
          <p:cNvSpPr/>
          <p:nvPr userDrawn="1"/>
        </p:nvSpPr>
        <p:spPr>
          <a:xfrm>
            <a:off x="6193200" y="1387800"/>
            <a:ext cx="2721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18" name="Rectangle 17">
            <a:extLst>
              <a:ext uri="{FF2B5EF4-FFF2-40B4-BE49-F238E27FC236}">
                <a16:creationId xmlns:a16="http://schemas.microsoft.com/office/drawing/2014/main" id="{8EC99C0E-590D-4617-8391-0D34840309A6}"/>
              </a:ext>
            </a:extLst>
          </p:cNvPr>
          <p:cNvSpPr/>
          <p:nvPr userDrawn="1"/>
        </p:nvSpPr>
        <p:spPr>
          <a:xfrm>
            <a:off x="3277200" y="1387800"/>
            <a:ext cx="2721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19" name="Rectangle 18">
            <a:extLst>
              <a:ext uri="{FF2B5EF4-FFF2-40B4-BE49-F238E27FC236}">
                <a16:creationId xmlns:a16="http://schemas.microsoft.com/office/drawing/2014/main" id="{42D0ED20-761B-42B7-9465-9ACF1A6AF587}"/>
              </a:ext>
            </a:extLst>
          </p:cNvPr>
          <p:cNvSpPr/>
          <p:nvPr userDrawn="1"/>
        </p:nvSpPr>
        <p:spPr>
          <a:xfrm>
            <a:off x="9109200" y="1387800"/>
            <a:ext cx="2721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8" name="Date Placeholder 8">
            <a:extLst>
              <a:ext uri="{FF2B5EF4-FFF2-40B4-BE49-F238E27FC236}">
                <a16:creationId xmlns:a16="http://schemas.microsoft.com/office/drawing/2014/main" id="{41983374-6A53-4E06-B0CA-20559F682FFC}"/>
              </a:ext>
            </a:extLst>
          </p:cNvPr>
          <p:cNvSpPr>
            <a:spLocks noGrp="1"/>
          </p:cNvSpPr>
          <p:nvPr>
            <p:ph type="dt" sz="half" idx="2"/>
          </p:nvPr>
        </p:nvSpPr>
        <p:spPr/>
        <p:txBody>
          <a:bodyPr anchor="t"/>
          <a:lstStyle>
            <a:lvl1pPr>
              <a:defRPr baseline="0">
                <a:latin typeface="+mn-lt"/>
                <a:cs typeface="+mn-cs"/>
              </a:defRPr>
            </a:lvl1pPr>
          </a:lstStyle>
          <a:p>
            <a:fld id="{91D32E29-F823-4652-9AE9-2D2F132296DA}" type="datetime1">
              <a:rPr lang="en-US"/>
              <a:pPr/>
              <a:t>1/29/2022</a:t>
            </a:fld>
            <a:endParaRPr lang="en-US" dirty="0"/>
          </a:p>
        </p:txBody>
      </p:sp>
      <p:sp>
        <p:nvSpPr>
          <p:cNvPr id="9" name="Footer Placeholder 9">
            <a:extLst>
              <a:ext uri="{FF2B5EF4-FFF2-40B4-BE49-F238E27FC236}">
                <a16:creationId xmlns:a16="http://schemas.microsoft.com/office/drawing/2014/main" id="{D6A8173E-BB5C-49BB-99D0-21E6CF68FFE5}"/>
              </a:ext>
            </a:extLst>
          </p:cNvPr>
          <p:cNvSpPr>
            <a:spLocks noGrp="1"/>
          </p:cNvSpPr>
          <p:nvPr>
            <p:ph type="ftr" sz="quarter" idx="3"/>
          </p:nvPr>
        </p:nvSpPr>
        <p:spPr/>
        <p:txBody>
          <a:bodyPr/>
          <a:lstStyle>
            <a:lvl1pPr>
              <a:defRPr baseline="0">
                <a:latin typeface="+mn-lt"/>
                <a:cs typeface="+mn-cs"/>
              </a:defRPr>
            </a:lvl1pPr>
          </a:lstStyle>
          <a:p>
            <a:r>
              <a:rPr lang="en-US"/>
              <a:t>© 2021 Software AG. All rights reserved. For internal use only and for Software AG Partners.</a:t>
            </a:r>
            <a:endParaRPr lang="en-US" dirty="0"/>
          </a:p>
        </p:txBody>
      </p:sp>
      <p:sp>
        <p:nvSpPr>
          <p:cNvPr id="10" name="Slide Number Placeholder 10">
            <a:extLst>
              <a:ext uri="{FF2B5EF4-FFF2-40B4-BE49-F238E27FC236}">
                <a16:creationId xmlns:a16="http://schemas.microsoft.com/office/drawing/2014/main" id="{7A84A96E-3CBF-494A-BA72-B024BEB268E2}"/>
              </a:ext>
            </a:extLst>
          </p:cNvPr>
          <p:cNvSpPr>
            <a:spLocks noGrp="1"/>
          </p:cNvSpPr>
          <p:nvPr>
            <p:ph type="sldNum" sz="quarter" idx="4"/>
          </p:nvPr>
        </p:nvSpPr>
        <p:spPr/>
        <p:txBody>
          <a:bodyPr/>
          <a:lstStyle>
            <a:lvl1pPr>
              <a:defRPr baseline="0">
                <a:latin typeface="+mn-lt"/>
                <a:cs typeface="+mn-cs"/>
              </a:defRPr>
            </a:lvl1pPr>
          </a:lstStyle>
          <a:p>
            <a:fld id="{22FF84AA-2C76-4AF1-8502-73D25D47F37C}" type="slidenum">
              <a:rPr lang="en-US"/>
              <a:pPr/>
              <a:t>‹#›</a:t>
            </a:fld>
            <a:endParaRPr lang="en-US" dirty="0"/>
          </a:p>
        </p:txBody>
      </p:sp>
      <p:sp>
        <p:nvSpPr>
          <p:cNvPr id="3" name="Title">
            <a:extLst>
              <a:ext uri="{FF2B5EF4-FFF2-40B4-BE49-F238E27FC236}">
                <a16:creationId xmlns:a16="http://schemas.microsoft.com/office/drawing/2014/main" id="{4C4A97BA-E398-4A90-AC04-44F38D59BD3D}"/>
              </a:ext>
            </a:extLst>
          </p:cNvPr>
          <p:cNvSpPr>
            <a:spLocks noGrp="1"/>
          </p:cNvSpPr>
          <p:nvPr>
            <p:ph type="title"/>
          </p:nvPr>
        </p:nvSpPr>
        <p:spPr>
          <a:xfrm>
            <a:off x="361200" y="221400"/>
            <a:ext cx="11468100" cy="486625"/>
          </a:xfrm>
        </p:spPr>
        <p:txBody>
          <a:bodyPr/>
          <a:lstStyle>
            <a:lvl1pPr>
              <a:defRPr baseline="0"/>
            </a:lvl1pPr>
          </a:lstStyle>
          <a:p>
            <a:r>
              <a:rPr lang="en-US"/>
              <a:t>Click to edit Master title style</a:t>
            </a:r>
            <a:endParaRPr lang="en-US" dirty="0"/>
          </a:p>
        </p:txBody>
      </p:sp>
      <p:sp>
        <p:nvSpPr>
          <p:cNvPr id="2" name="Subtitle 1">
            <a:extLst>
              <a:ext uri="{FF2B5EF4-FFF2-40B4-BE49-F238E27FC236}">
                <a16:creationId xmlns:a16="http://schemas.microsoft.com/office/drawing/2014/main" id="{C36C25D8-ABBB-44DB-B2D5-58DF6B78A784}"/>
              </a:ext>
            </a:extLst>
          </p:cNvPr>
          <p:cNvSpPr>
            <a:spLocks noGrp="1"/>
          </p:cNvSpPr>
          <p:nvPr>
            <p:ph type="subTitle" sz="quarter" idx="1"/>
          </p:nvPr>
        </p:nvSpPr>
        <p:spPr>
          <a:xfrm>
            <a:off x="361200" y="707400"/>
            <a:ext cx="11468100" cy="290513"/>
          </a:xfrm>
        </p:spPr>
        <p:txBody>
          <a:bodyPr tIns="50800"/>
          <a:lstStyle>
            <a:lvl1pPr marL="0" indent="0">
              <a:lnSpc>
                <a:spcPct val="100000"/>
              </a:lnSpc>
              <a:spcBef>
                <a:spcPts val="0"/>
              </a:spcBef>
              <a:spcAft>
                <a:spcPts val="765"/>
              </a:spcAft>
              <a:buFontTx/>
              <a:buNone/>
              <a:defRPr baseline="0">
                <a:solidFill>
                  <a:schemeClr val="accent1"/>
                </a:solidFill>
                <a:latin typeface="+mn-lt"/>
                <a:cs typeface="+mn-cs"/>
              </a:defRPr>
            </a:lvl1pPr>
          </a:lstStyle>
          <a:p>
            <a:pPr lvl="0"/>
            <a:r>
              <a:rPr lang="en-US"/>
              <a:t>Click to edit Master subtitle style</a:t>
            </a:r>
            <a:endParaRPr lang="en-US" dirty="0"/>
          </a:p>
        </p:txBody>
      </p:sp>
      <p:sp>
        <p:nvSpPr>
          <p:cNvPr id="11" name="Text Placeholder 11">
            <a:extLst>
              <a:ext uri="{FF2B5EF4-FFF2-40B4-BE49-F238E27FC236}">
                <a16:creationId xmlns:a16="http://schemas.microsoft.com/office/drawing/2014/main" id="{223FB0B2-C602-4E64-898C-8A5C35D7A7EB}"/>
              </a:ext>
            </a:extLst>
          </p:cNvPr>
          <p:cNvSpPr>
            <a:spLocks noGrp="1"/>
          </p:cNvSpPr>
          <p:nvPr>
            <p:ph type="body" sz="quarter" idx="11"/>
          </p:nvPr>
        </p:nvSpPr>
        <p:spPr>
          <a:xfrm>
            <a:off x="361200" y="4303800"/>
            <a:ext cx="2720851"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2">
            <a:extLst>
              <a:ext uri="{FF2B5EF4-FFF2-40B4-BE49-F238E27FC236}">
                <a16:creationId xmlns:a16="http://schemas.microsoft.com/office/drawing/2014/main" id="{0475DEDF-299E-4BFB-B57C-6C11B6D89FD8}"/>
              </a:ext>
            </a:extLst>
          </p:cNvPr>
          <p:cNvSpPr>
            <a:spLocks noGrp="1"/>
          </p:cNvSpPr>
          <p:nvPr>
            <p:ph type="body" sz="quarter" idx="12"/>
          </p:nvPr>
        </p:nvSpPr>
        <p:spPr>
          <a:xfrm>
            <a:off x="3277200" y="4303800"/>
            <a:ext cx="2720851"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3">
            <a:extLst>
              <a:ext uri="{FF2B5EF4-FFF2-40B4-BE49-F238E27FC236}">
                <a16:creationId xmlns:a16="http://schemas.microsoft.com/office/drawing/2014/main" id="{BCED38B0-1624-4BD2-8753-92BF612B4D59}"/>
              </a:ext>
            </a:extLst>
          </p:cNvPr>
          <p:cNvSpPr>
            <a:spLocks noGrp="1"/>
          </p:cNvSpPr>
          <p:nvPr>
            <p:ph type="body" sz="quarter" idx="13"/>
          </p:nvPr>
        </p:nvSpPr>
        <p:spPr>
          <a:xfrm>
            <a:off x="6193200" y="4303800"/>
            <a:ext cx="2720851"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14">
            <a:extLst>
              <a:ext uri="{FF2B5EF4-FFF2-40B4-BE49-F238E27FC236}">
                <a16:creationId xmlns:a16="http://schemas.microsoft.com/office/drawing/2014/main" id="{87492EF3-07F5-462C-A358-EA0FA68226AF}"/>
              </a:ext>
            </a:extLst>
          </p:cNvPr>
          <p:cNvSpPr>
            <a:spLocks noGrp="1"/>
          </p:cNvSpPr>
          <p:nvPr>
            <p:ph type="body" sz="quarter" idx="14"/>
          </p:nvPr>
        </p:nvSpPr>
        <p:spPr>
          <a:xfrm>
            <a:off x="9109200" y="4303800"/>
            <a:ext cx="2720851"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Content Placeholder 21">
            <a:extLst>
              <a:ext uri="{FF2B5EF4-FFF2-40B4-BE49-F238E27FC236}">
                <a16:creationId xmlns:a16="http://schemas.microsoft.com/office/drawing/2014/main" id="{26551A99-EF1B-45EB-B385-09C7416E87A1}"/>
              </a:ext>
            </a:extLst>
          </p:cNvPr>
          <p:cNvSpPr>
            <a:spLocks noGrp="1"/>
          </p:cNvSpPr>
          <p:nvPr>
            <p:ph sz="quarter" idx="21" hasCustomPrompt="1"/>
          </p:nvPr>
        </p:nvSpPr>
        <p:spPr>
          <a:xfrm>
            <a:off x="361200" y="1387800"/>
            <a:ext cx="2720851"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22" name="Content Placeholder 22">
            <a:extLst>
              <a:ext uri="{FF2B5EF4-FFF2-40B4-BE49-F238E27FC236}">
                <a16:creationId xmlns:a16="http://schemas.microsoft.com/office/drawing/2014/main" id="{A5A8B03D-8A5A-4C12-8FF4-6B91140BEAB3}"/>
              </a:ext>
            </a:extLst>
          </p:cNvPr>
          <p:cNvSpPr>
            <a:spLocks noGrp="1"/>
          </p:cNvSpPr>
          <p:nvPr>
            <p:ph sz="quarter" idx="22" hasCustomPrompt="1"/>
          </p:nvPr>
        </p:nvSpPr>
        <p:spPr>
          <a:xfrm>
            <a:off x="3277200" y="1387800"/>
            <a:ext cx="2720851"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23" name="Content Placeholder 23">
            <a:extLst>
              <a:ext uri="{FF2B5EF4-FFF2-40B4-BE49-F238E27FC236}">
                <a16:creationId xmlns:a16="http://schemas.microsoft.com/office/drawing/2014/main" id="{E64B865A-4E1D-4441-9739-39C1C7A379A3}"/>
              </a:ext>
            </a:extLst>
          </p:cNvPr>
          <p:cNvSpPr>
            <a:spLocks noGrp="1"/>
          </p:cNvSpPr>
          <p:nvPr>
            <p:ph sz="quarter" idx="23" hasCustomPrompt="1"/>
          </p:nvPr>
        </p:nvSpPr>
        <p:spPr>
          <a:xfrm>
            <a:off x="6193200" y="1387800"/>
            <a:ext cx="2720851"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24" name="Content Placeholder 24">
            <a:extLst>
              <a:ext uri="{FF2B5EF4-FFF2-40B4-BE49-F238E27FC236}">
                <a16:creationId xmlns:a16="http://schemas.microsoft.com/office/drawing/2014/main" id="{529EEB37-A411-4CB7-A38B-3FA1E543C5E9}"/>
              </a:ext>
            </a:extLst>
          </p:cNvPr>
          <p:cNvSpPr>
            <a:spLocks noGrp="1"/>
          </p:cNvSpPr>
          <p:nvPr>
            <p:ph sz="quarter" idx="24" hasCustomPrompt="1"/>
          </p:nvPr>
        </p:nvSpPr>
        <p:spPr>
          <a:xfrm>
            <a:off x="9109200" y="1387800"/>
            <a:ext cx="2720851"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16" name="Layout Support" hidden="1">
            <a:extLst>
              <a:ext uri="{FF2B5EF4-FFF2-40B4-BE49-F238E27FC236}">
                <a16:creationId xmlns:a16="http://schemas.microsoft.com/office/drawing/2014/main" id="{14E5BAC6-C77D-490E-8D4B-FD7EE150824F}"/>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1440</a:t>
            </a:r>
          </a:p>
        </p:txBody>
      </p:sp>
    </p:spTree>
    <p:extLst>
      <p:ext uri="{BB962C8B-B14F-4D97-AF65-F5344CB8AC3E}">
        <p14:creationId xmlns:p14="http://schemas.microsoft.com/office/powerpoint/2010/main" val="3531087037"/>
      </p:ext>
    </p:extLst>
  </p:cSld>
  <p:clrMapOvr>
    <a:masterClrMapping/>
  </p:clrMapOvr>
  <p:hf hdr="0" dt="0"/>
  <p:extLst>
    <p:ext uri="{DCECCB84-F9BA-43D5-87BE-67443E8EF086}">
      <p15:sldGuideLst xmlns:p15="http://schemas.microsoft.com/office/powerpoint/2012/main">
        <p15:guide id="1" orient="horz" pos="874" userDrawn="1">
          <p15:clr>
            <a:srgbClr val="547EBF"/>
          </p15:clr>
        </p15:guide>
        <p15:guide id="2" orient="horz" pos="2589" userDrawn="1">
          <p15:clr>
            <a:srgbClr val="547EBF"/>
          </p15:clr>
        </p15:guide>
        <p15:guide id="3" orient="horz" pos="3813" userDrawn="1">
          <p15:clr>
            <a:srgbClr val="547EBF"/>
          </p15:clr>
        </p15:guide>
        <p15:guide id="4" orient="horz" pos="2711" userDrawn="1">
          <p15:clr>
            <a:srgbClr val="547EBF"/>
          </p15:clr>
        </p15:guide>
        <p15:guide id="5" pos="228" userDrawn="1">
          <p15:clr>
            <a:srgbClr val="547EBF"/>
          </p15:clr>
        </p15:guide>
        <p15:guide id="6" pos="7452" userDrawn="1">
          <p15:clr>
            <a:srgbClr val="547EBF"/>
          </p15:clr>
        </p15:guide>
        <p15:guide id="7" pos="1942" userDrawn="1">
          <p15:clr>
            <a:srgbClr val="547EBF"/>
          </p15:clr>
        </p15:guide>
        <p15:guide id="8" pos="2064" userDrawn="1">
          <p15:clr>
            <a:srgbClr val="547EBF"/>
          </p15:clr>
        </p15:guide>
        <p15:guide id="9" pos="3779" userDrawn="1">
          <p15:clr>
            <a:srgbClr val="547EBF"/>
          </p15:clr>
        </p15:guide>
        <p15:guide id="10" pos="3901" userDrawn="1">
          <p15:clr>
            <a:srgbClr val="547EBF"/>
          </p15:clr>
        </p15:guide>
        <p15:guide id="11" pos="5616" userDrawn="1">
          <p15:clr>
            <a:srgbClr val="547EBF"/>
          </p15:clr>
        </p15:guide>
        <p15:guide id="12" pos="5738" userDrawn="1">
          <p15:clr>
            <a:srgbClr val="547EBF"/>
          </p15:clr>
        </p15:guide>
        <p15:guide id="13" orient="horz" pos="3874" userDrawn="1">
          <p15:clr>
            <a:srgbClr val="547EBF"/>
          </p15:clr>
        </p15:guide>
        <p15:guide id="14" orient="horz" pos="3997" userDrawn="1">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3FF37C1-E41C-4317-A626-67E24CE67164}"/>
              </a:ext>
            </a:extLst>
          </p:cNvPr>
          <p:cNvSpPr>
            <a:spLocks noGrp="1"/>
          </p:cNvSpPr>
          <p:nvPr>
            <p:ph type="dt" sz="half" idx="2"/>
          </p:nvPr>
        </p:nvSpPr>
        <p:spPr/>
        <p:txBody>
          <a:bodyPr/>
          <a:lstStyle/>
          <a:p>
            <a:fld id="{04A728B0-2EE8-4602-849F-D2D469FDAEE2}" type="datetime1">
              <a:rPr lang="en-US"/>
              <a:pPr/>
              <a:t>1/29/2022</a:t>
            </a:fld>
            <a:endParaRPr lang="en-US" dirty="0"/>
          </a:p>
        </p:txBody>
      </p:sp>
      <p:sp>
        <p:nvSpPr>
          <p:cNvPr id="4" name="Footer Placeholder 3">
            <a:extLst>
              <a:ext uri="{FF2B5EF4-FFF2-40B4-BE49-F238E27FC236}">
                <a16:creationId xmlns:a16="http://schemas.microsoft.com/office/drawing/2014/main" id="{934F8E4D-0C8B-4F57-A860-37E36F7E95E6}"/>
              </a:ext>
            </a:extLst>
          </p:cNvPr>
          <p:cNvSpPr>
            <a:spLocks noGrp="1"/>
          </p:cNvSpPr>
          <p:nvPr>
            <p:ph type="ftr" sz="quarter" idx="3"/>
          </p:nvPr>
        </p:nvSpPr>
        <p:spPr/>
        <p:txBody>
          <a:body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03A31AC3-8B30-487A-888B-DF7B0C777B41}"/>
              </a:ext>
            </a:extLst>
          </p:cNvPr>
          <p:cNvSpPr>
            <a:spLocks noGrp="1"/>
          </p:cNvSpPr>
          <p:nvPr>
            <p:ph type="sldNum" sz="quarter" idx="4"/>
          </p:nvPr>
        </p:nvSpPr>
        <p:spPr/>
        <p:txBody>
          <a:bodyPr/>
          <a:lstStyle/>
          <a:p>
            <a:fld id="{22FF84AA-2C76-4AF1-8502-73D25D47F37C}" type="slidenum">
              <a:rPr lang="en-US"/>
              <a:pPr/>
              <a:t>‹#›</a:t>
            </a:fld>
            <a:endParaRPr lang="en-US" dirty="0"/>
          </a:p>
        </p:txBody>
      </p:sp>
      <p:sp>
        <p:nvSpPr>
          <p:cNvPr id="7" name="Layout Support" hidden="1">
            <a:extLst>
              <a:ext uri="{FF2B5EF4-FFF2-40B4-BE49-F238E27FC236}">
                <a16:creationId xmlns:a16="http://schemas.microsoft.com/office/drawing/2014/main" id="{46790C16-BCD5-4B07-9EA5-3B69285F9739}"/>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00000</a:t>
            </a:r>
          </a:p>
        </p:txBody>
      </p:sp>
    </p:spTree>
    <p:extLst>
      <p:ext uri="{BB962C8B-B14F-4D97-AF65-F5344CB8AC3E}">
        <p14:creationId xmlns:p14="http://schemas.microsoft.com/office/powerpoint/2010/main" val="3425581950"/>
      </p:ext>
    </p:extLst>
  </p:cSld>
  <p:clrMapOvr>
    <a:masterClrMapping/>
  </p:clrMapOvr>
  <p:hf hdr="0" dt="0"/>
  <p:extLst>
    <p:ext uri="{DCECCB84-F9BA-43D5-87BE-67443E8EF086}">
      <p15:sldGuideLst xmlns:p15="http://schemas.microsoft.com/office/powerpoint/2012/main">
        <p15:guide id="1" pos="228" userDrawn="1">
          <p15:clr>
            <a:srgbClr val="547EBF"/>
          </p15:clr>
        </p15:guide>
        <p15:guide id="2" orient="horz" pos="139" userDrawn="1">
          <p15:clr>
            <a:srgbClr val="547EBF"/>
          </p15:clr>
        </p15:guide>
        <p15:guide id="3" pos="7452" userDrawn="1">
          <p15:clr>
            <a:srgbClr val="547EBF"/>
          </p15:clr>
        </p15:guide>
        <p15:guide id="4" orient="horz" pos="3874" userDrawn="1">
          <p15:clr>
            <a:srgbClr val="547EBF"/>
          </p15:clr>
        </p15:guide>
        <p15:guide id="5" orient="horz" pos="3997" userDrawn="1">
          <p15:clr>
            <a:srgbClr val="547EBF"/>
          </p15:clr>
        </p15:guide>
        <p15:guide id="6" orient="horz" pos="4119" userDrawn="1">
          <p15:clr>
            <a:srgbClr val="547EBF"/>
          </p15:clr>
        </p15:guide>
        <p15:guide id="7" orient="horz" pos="874" userDrawn="1">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Divider B with Pic" type="secHead" preserve="1">
  <p:cSld name="Divider B with Pic">
    <p:bg>
      <p:bgRef idx="1001">
        <a:schemeClr val="bg2"/>
      </p:bgRef>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93BDDF0-4858-4DD7-81E8-30F6EB4BAE11}"/>
              </a:ext>
            </a:extLst>
          </p:cNvPr>
          <p:cNvSpPr/>
          <p:nvPr userDrawn="1"/>
        </p:nvSpPr>
        <p:spPr>
          <a:xfrm>
            <a:off x="9886800" y="6150600"/>
            <a:ext cx="2138400" cy="583200"/>
          </a:xfrm>
          <a:prstGeom prst="rect">
            <a:avLst/>
          </a:prstGeom>
          <a:solidFill>
            <a:schemeClr val="tx1"/>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3" name="Date Placeholder 2">
            <a:extLst>
              <a:ext uri="{FF2B5EF4-FFF2-40B4-BE49-F238E27FC236}">
                <a16:creationId xmlns:a16="http://schemas.microsoft.com/office/drawing/2014/main" id="{D43044E8-13F2-4213-8EB8-08C264974AA4}"/>
              </a:ext>
            </a:extLst>
          </p:cNvPr>
          <p:cNvSpPr>
            <a:spLocks noGrp="1"/>
          </p:cNvSpPr>
          <p:nvPr>
            <p:ph type="dt" sz="half" idx="2"/>
          </p:nvPr>
        </p:nvSpPr>
        <p:spPr/>
        <p:txBody>
          <a:bodyPr/>
          <a:lstStyle>
            <a:lvl1pPr>
              <a:defRPr baseline="0"/>
            </a:lvl1pPr>
          </a:lstStyle>
          <a:p>
            <a:fld id="{04A728B0-2EE8-4602-849F-D2D469FDAEE2}" type="datetime1">
              <a:rPr lang="en-US"/>
              <a:pPr/>
              <a:t>1/29/2022</a:t>
            </a:fld>
            <a:endParaRPr lang="en-US" dirty="0"/>
          </a:p>
        </p:txBody>
      </p:sp>
      <p:sp>
        <p:nvSpPr>
          <p:cNvPr id="4" name="Footer Placeholder 3">
            <a:extLst>
              <a:ext uri="{FF2B5EF4-FFF2-40B4-BE49-F238E27FC236}">
                <a16:creationId xmlns:a16="http://schemas.microsoft.com/office/drawing/2014/main" id="{B3F1E6AF-F442-43CB-962F-5DCC74EEABB9}"/>
              </a:ext>
            </a:extLst>
          </p:cNvPr>
          <p:cNvSpPr>
            <a:spLocks noGrp="1"/>
          </p:cNvSpPr>
          <p:nvPr>
            <p:ph type="ftr" sz="quarter" idx="3"/>
          </p:nvPr>
        </p:nvSpPr>
        <p:spPr/>
        <p:txBody>
          <a:bodyPr/>
          <a:lstStyle>
            <a:lvl1pPr>
              <a:defRPr baseline="0"/>
            </a:lvl1p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6D584CEB-01D3-4E61-8F56-AD27173459BE}"/>
              </a:ext>
            </a:extLst>
          </p:cNvPr>
          <p:cNvSpPr>
            <a:spLocks noGrp="1"/>
          </p:cNvSpPr>
          <p:nvPr>
            <p:ph type="sldNum" sz="quarter" idx="4"/>
          </p:nvPr>
        </p:nvSpPr>
        <p:spPr/>
        <p:txBody>
          <a:bodyPr/>
          <a:lstStyle>
            <a:lvl1pPr>
              <a:defRPr baseline="0"/>
            </a:lvl1pPr>
          </a:lstStyle>
          <a:p>
            <a:fld id="{22FF84AA-2C76-4AF1-8502-73D25D47F37C}" type="slidenum">
              <a:rPr lang="en-US"/>
              <a:pPr/>
              <a:t>‹#›</a:t>
            </a:fld>
            <a:endParaRPr lang="en-US" dirty="0"/>
          </a:p>
        </p:txBody>
      </p:sp>
      <p:sp>
        <p:nvSpPr>
          <p:cNvPr id="34" name="Picture Placeholder 31">
            <a:extLst>
              <a:ext uri="{FF2B5EF4-FFF2-40B4-BE49-F238E27FC236}">
                <a16:creationId xmlns:a16="http://schemas.microsoft.com/office/drawing/2014/main" id="{D8395AC6-F1DD-4B25-8758-808B26870168}"/>
              </a:ext>
            </a:extLst>
          </p:cNvPr>
          <p:cNvSpPr>
            <a:spLocks noGrp="1"/>
          </p:cNvSpPr>
          <p:nvPr>
            <p:ph type="pic" sz="quarter" idx="31" hasCustomPrompt="1"/>
          </p:nvPr>
        </p:nvSpPr>
        <p:spPr>
          <a:xfrm>
            <a:off x="0" y="0"/>
            <a:ext cx="12192000" cy="6857999"/>
          </a:xfrm>
          <a:custGeom>
            <a:avLst/>
            <a:gdLst>
              <a:gd name="connsiteX0" fmla="*/ 11298788 w 12192000"/>
              <a:gd name="connsiteY0" fmla="*/ 6533358 h 6857999"/>
              <a:gd name="connsiteX1" fmla="*/ 11298788 w 12192000"/>
              <a:gd name="connsiteY1" fmla="*/ 6577748 h 6857999"/>
              <a:gd name="connsiteX2" fmla="*/ 11277098 w 12192000"/>
              <a:gd name="connsiteY2" fmla="*/ 6580508 h 6857999"/>
              <a:gd name="connsiteX3" fmla="*/ 11251296 w 12192000"/>
              <a:gd name="connsiteY3" fmla="*/ 6559126 h 6857999"/>
              <a:gd name="connsiteX4" fmla="*/ 11271583 w 12192000"/>
              <a:gd name="connsiteY4" fmla="*/ 6537753 h 6857999"/>
              <a:gd name="connsiteX5" fmla="*/ 10560747 w 12192000"/>
              <a:gd name="connsiteY5" fmla="*/ 6479619 h 6857999"/>
              <a:gd name="connsiteX6" fmla="*/ 10586349 w 12192000"/>
              <a:gd name="connsiteY6" fmla="*/ 6528988 h 6857999"/>
              <a:gd name="connsiteX7" fmla="*/ 10560747 w 12192000"/>
              <a:gd name="connsiteY7" fmla="*/ 6577739 h 6857999"/>
              <a:gd name="connsiteX8" fmla="*/ 10535246 w 12192000"/>
              <a:gd name="connsiteY8" fmla="*/ 6528988 h 6857999"/>
              <a:gd name="connsiteX9" fmla="*/ 10560747 w 12192000"/>
              <a:gd name="connsiteY9" fmla="*/ 6479619 h 6857999"/>
              <a:gd name="connsiteX10" fmla="*/ 11568237 w 12192000"/>
              <a:gd name="connsiteY10" fmla="*/ 6479077 h 6857999"/>
              <a:gd name="connsiteX11" fmla="*/ 11592661 w 12192000"/>
              <a:gd name="connsiteY11" fmla="*/ 6494421 h 6857999"/>
              <a:gd name="connsiteX12" fmla="*/ 11594332 w 12192000"/>
              <a:gd name="connsiteY12" fmla="*/ 6515511 h 6857999"/>
              <a:gd name="connsiteX13" fmla="*/ 11594332 w 12192000"/>
              <a:gd name="connsiteY13" fmla="*/ 6519889 h 6857999"/>
              <a:gd name="connsiteX14" fmla="*/ 11542987 w 12192000"/>
              <a:gd name="connsiteY14" fmla="*/ 6519889 h 6857999"/>
              <a:gd name="connsiteX15" fmla="*/ 11542987 w 12192000"/>
              <a:gd name="connsiteY15" fmla="*/ 6517179 h 6857999"/>
              <a:gd name="connsiteX16" fmla="*/ 11544357 w 12192000"/>
              <a:gd name="connsiteY16" fmla="*/ 6496340 h 6857999"/>
              <a:gd name="connsiteX17" fmla="*/ 11568237 w 12192000"/>
              <a:gd name="connsiteY17" fmla="*/ 6479077 h 6857999"/>
              <a:gd name="connsiteX18" fmla="*/ 11720656 w 12192000"/>
              <a:gd name="connsiteY18" fmla="*/ 6460415 h 6857999"/>
              <a:gd name="connsiteX19" fmla="*/ 11725886 w 12192000"/>
              <a:gd name="connsiteY19" fmla="*/ 6460415 h 6857999"/>
              <a:gd name="connsiteX20" fmla="*/ 11733582 w 12192000"/>
              <a:gd name="connsiteY20" fmla="*/ 6487000 h 6857999"/>
              <a:gd name="connsiteX21" fmla="*/ 11712977 w 12192000"/>
              <a:gd name="connsiteY21" fmla="*/ 6487000 h 6857999"/>
              <a:gd name="connsiteX22" fmla="*/ 11710245 w 12192000"/>
              <a:gd name="connsiteY22" fmla="*/ 6450024 h 6857999"/>
              <a:gd name="connsiteX23" fmla="*/ 11709167 w 12192000"/>
              <a:gd name="connsiteY23" fmla="*/ 6450850 h 6857999"/>
              <a:gd name="connsiteX24" fmla="*/ 11687317 w 12192000"/>
              <a:gd name="connsiteY24" fmla="*/ 6515787 h 6857999"/>
              <a:gd name="connsiteX25" fmla="*/ 11687033 w 12192000"/>
              <a:gd name="connsiteY25" fmla="*/ 6516896 h 6857999"/>
              <a:gd name="connsiteX26" fmla="*/ 11687827 w 12192000"/>
              <a:gd name="connsiteY26" fmla="*/ 6517455 h 6857999"/>
              <a:gd name="connsiteX27" fmla="*/ 11703886 w 12192000"/>
              <a:gd name="connsiteY27" fmla="*/ 6517455 h 6857999"/>
              <a:gd name="connsiteX28" fmla="*/ 11705014 w 12192000"/>
              <a:gd name="connsiteY28" fmla="*/ 6516329 h 6857999"/>
              <a:gd name="connsiteX29" fmla="*/ 11709977 w 12192000"/>
              <a:gd name="connsiteY29" fmla="*/ 6497716 h 6857999"/>
              <a:gd name="connsiteX30" fmla="*/ 11736581 w 12192000"/>
              <a:gd name="connsiteY30" fmla="*/ 6497716 h 6857999"/>
              <a:gd name="connsiteX31" fmla="*/ 11741528 w 12192000"/>
              <a:gd name="connsiteY31" fmla="*/ 6516329 h 6857999"/>
              <a:gd name="connsiteX32" fmla="*/ 11742656 w 12192000"/>
              <a:gd name="connsiteY32" fmla="*/ 6517455 h 6857999"/>
              <a:gd name="connsiteX33" fmla="*/ 11757763 w 12192000"/>
              <a:gd name="connsiteY33" fmla="*/ 6517455 h 6857999"/>
              <a:gd name="connsiteX34" fmla="*/ 11758573 w 12192000"/>
              <a:gd name="connsiteY34" fmla="*/ 6516896 h 6857999"/>
              <a:gd name="connsiteX35" fmla="*/ 11758272 w 12192000"/>
              <a:gd name="connsiteY35" fmla="*/ 6515787 h 6857999"/>
              <a:gd name="connsiteX36" fmla="*/ 11737442 w 12192000"/>
              <a:gd name="connsiteY36" fmla="*/ 6450850 h 6857999"/>
              <a:gd name="connsiteX37" fmla="*/ 11736314 w 12192000"/>
              <a:gd name="connsiteY37" fmla="*/ 6450024 h 6857999"/>
              <a:gd name="connsiteX38" fmla="*/ 10188067 w 12192000"/>
              <a:gd name="connsiteY38" fmla="*/ 6449732 h 6857999"/>
              <a:gd name="connsiteX39" fmla="*/ 10188067 w 12192000"/>
              <a:gd name="connsiteY39" fmla="*/ 6496048 h 6857999"/>
              <a:gd name="connsiteX40" fmla="*/ 10143574 w 12192000"/>
              <a:gd name="connsiteY40" fmla="*/ 6547343 h 6857999"/>
              <a:gd name="connsiteX41" fmla="*/ 10120796 w 12192000"/>
              <a:gd name="connsiteY41" fmla="*/ 6547343 h 6857999"/>
              <a:gd name="connsiteX42" fmla="*/ 10114179 w 12192000"/>
              <a:gd name="connsiteY42" fmla="*/ 6609537 h 6857999"/>
              <a:gd name="connsiteX43" fmla="*/ 10146874 w 12192000"/>
              <a:gd name="connsiteY43" fmla="*/ 6609537 h 6857999"/>
              <a:gd name="connsiteX44" fmla="*/ 10250959 w 12192000"/>
              <a:gd name="connsiteY44" fmla="*/ 6500735 h 6857999"/>
              <a:gd name="connsiteX45" fmla="*/ 10250959 w 12192000"/>
              <a:gd name="connsiteY45" fmla="*/ 6449732 h 6857999"/>
              <a:gd name="connsiteX46" fmla="*/ 11804146 w 12192000"/>
              <a:gd name="connsiteY46" fmla="*/ 6448589 h 6857999"/>
              <a:gd name="connsiteX47" fmla="*/ 11769822 w 12192000"/>
              <a:gd name="connsiteY47" fmla="*/ 6483747 h 6857999"/>
              <a:gd name="connsiteX48" fmla="*/ 11805809 w 12192000"/>
              <a:gd name="connsiteY48" fmla="*/ 6518563 h 6857999"/>
              <a:gd name="connsiteX49" fmla="*/ 11825035 w 12192000"/>
              <a:gd name="connsiteY49" fmla="*/ 6516645 h 6857999"/>
              <a:gd name="connsiteX50" fmla="*/ 11824792 w 12192000"/>
              <a:gd name="connsiteY50" fmla="*/ 6516645 h 6857999"/>
              <a:gd name="connsiteX51" fmla="*/ 11830800 w 12192000"/>
              <a:gd name="connsiteY51" fmla="*/ 6508698 h 6857999"/>
              <a:gd name="connsiteX52" fmla="*/ 11830800 w 12192000"/>
              <a:gd name="connsiteY52" fmla="*/ 6480678 h 6857999"/>
              <a:gd name="connsiteX53" fmla="*/ 11829730 w 12192000"/>
              <a:gd name="connsiteY53" fmla="*/ 6479619 h 6857999"/>
              <a:gd name="connsiteX54" fmla="*/ 11804146 w 12192000"/>
              <a:gd name="connsiteY54" fmla="*/ 6479619 h 6857999"/>
              <a:gd name="connsiteX55" fmla="*/ 11803068 w 12192000"/>
              <a:gd name="connsiteY55" fmla="*/ 6480678 h 6857999"/>
              <a:gd name="connsiteX56" fmla="*/ 11803068 w 12192000"/>
              <a:gd name="connsiteY56" fmla="*/ 6488917 h 6857999"/>
              <a:gd name="connsiteX57" fmla="*/ 11804146 w 12192000"/>
              <a:gd name="connsiteY57" fmla="*/ 6490310 h 6857999"/>
              <a:gd name="connsiteX58" fmla="*/ 11815134 w 12192000"/>
              <a:gd name="connsiteY58" fmla="*/ 6491403 h 6857999"/>
              <a:gd name="connsiteX59" fmla="*/ 11815134 w 12192000"/>
              <a:gd name="connsiteY59" fmla="*/ 6507572 h 6857999"/>
              <a:gd name="connsiteX60" fmla="*/ 11806327 w 12192000"/>
              <a:gd name="connsiteY60" fmla="*/ 6507856 h 6857999"/>
              <a:gd name="connsiteX61" fmla="*/ 11786575 w 12192000"/>
              <a:gd name="connsiteY61" fmla="*/ 6484273 h 6857999"/>
              <a:gd name="connsiteX62" fmla="*/ 11808249 w 12192000"/>
              <a:gd name="connsiteY62" fmla="*/ 6460147 h 6857999"/>
              <a:gd name="connsiteX63" fmla="*/ 11824784 w 12192000"/>
              <a:gd name="connsiteY63" fmla="*/ 6462049 h 6857999"/>
              <a:gd name="connsiteX64" fmla="*/ 11826138 w 12192000"/>
              <a:gd name="connsiteY64" fmla="*/ 6462299 h 6857999"/>
              <a:gd name="connsiteX65" fmla="*/ 11828335 w 12192000"/>
              <a:gd name="connsiteY65" fmla="*/ 6462566 h 6857999"/>
              <a:gd name="connsiteX66" fmla="*/ 11829730 w 12192000"/>
              <a:gd name="connsiteY66" fmla="*/ 6460689 h 6857999"/>
              <a:gd name="connsiteX67" fmla="*/ 11830508 w 12192000"/>
              <a:gd name="connsiteY67" fmla="*/ 6456278 h 6857999"/>
              <a:gd name="connsiteX68" fmla="*/ 11830792 w 12192000"/>
              <a:gd name="connsiteY68" fmla="*/ 6454101 h 6857999"/>
              <a:gd name="connsiteX69" fmla="*/ 11829396 w 12192000"/>
              <a:gd name="connsiteY69" fmla="*/ 6452434 h 6857999"/>
              <a:gd name="connsiteX70" fmla="*/ 11804146 w 12192000"/>
              <a:gd name="connsiteY70" fmla="*/ 6448589 h 6857999"/>
              <a:gd name="connsiteX71" fmla="*/ 11468798 w 12192000"/>
              <a:gd name="connsiteY71" fmla="*/ 6446454 h 6857999"/>
              <a:gd name="connsiteX72" fmla="*/ 11414988 w 12192000"/>
              <a:gd name="connsiteY72" fmla="*/ 6451917 h 6857999"/>
              <a:gd name="connsiteX73" fmla="*/ 11388050 w 12192000"/>
              <a:gd name="connsiteY73" fmla="*/ 6469487 h 6857999"/>
              <a:gd name="connsiteX74" fmla="*/ 11388050 w 12192000"/>
              <a:gd name="connsiteY74" fmla="*/ 6603823 h 6857999"/>
              <a:gd name="connsiteX75" fmla="*/ 11391919 w 12192000"/>
              <a:gd name="connsiteY75" fmla="*/ 6607676 h 6857999"/>
              <a:gd name="connsiteX76" fmla="*/ 11436086 w 12192000"/>
              <a:gd name="connsiteY76" fmla="*/ 6607676 h 6857999"/>
              <a:gd name="connsiteX77" fmla="*/ 11439963 w 12192000"/>
              <a:gd name="connsiteY77" fmla="*/ 6603823 h 6857999"/>
              <a:gd name="connsiteX78" fmla="*/ 11439963 w 12192000"/>
              <a:gd name="connsiteY78" fmla="*/ 6485899 h 6857999"/>
              <a:gd name="connsiteX79" fmla="*/ 11474847 w 12192000"/>
              <a:gd name="connsiteY79" fmla="*/ 6483455 h 6857999"/>
              <a:gd name="connsiteX80" fmla="*/ 11480345 w 12192000"/>
              <a:gd name="connsiteY80" fmla="*/ 6477109 h 6857999"/>
              <a:gd name="connsiteX81" fmla="*/ 11480345 w 12192000"/>
              <a:gd name="connsiteY81" fmla="*/ 6452750 h 6857999"/>
              <a:gd name="connsiteX82" fmla="*/ 11474003 w 12192000"/>
              <a:gd name="connsiteY82" fmla="*/ 6446454 h 6857999"/>
              <a:gd name="connsiteX83" fmla="*/ 10401190 w 12192000"/>
              <a:gd name="connsiteY83" fmla="*/ 6445921 h 6857999"/>
              <a:gd name="connsiteX84" fmla="*/ 10335023 w 12192000"/>
              <a:gd name="connsiteY84" fmla="*/ 6496039 h 6857999"/>
              <a:gd name="connsiteX85" fmla="*/ 10382516 w 12192000"/>
              <a:gd name="connsiteY85" fmla="*/ 6545666 h 6857999"/>
              <a:gd name="connsiteX86" fmla="*/ 10385549 w 12192000"/>
              <a:gd name="connsiteY86" fmla="*/ 6546191 h 6857999"/>
              <a:gd name="connsiteX87" fmla="*/ 10406153 w 12192000"/>
              <a:gd name="connsiteY87" fmla="*/ 6563203 h 6857999"/>
              <a:gd name="connsiteX88" fmla="*/ 10384972 w 12192000"/>
              <a:gd name="connsiteY88" fmla="*/ 6578581 h 6857999"/>
              <a:gd name="connsiteX89" fmla="*/ 10343504 w 12192000"/>
              <a:gd name="connsiteY89" fmla="*/ 6572285 h 6857999"/>
              <a:gd name="connsiteX90" fmla="*/ 10343771 w 12192000"/>
              <a:gd name="connsiteY90" fmla="*/ 6572285 h 6857999"/>
              <a:gd name="connsiteX91" fmla="*/ 10342961 w 12192000"/>
              <a:gd name="connsiteY91" fmla="*/ 6572034 h 6857999"/>
              <a:gd name="connsiteX92" fmla="*/ 10339936 w 12192000"/>
              <a:gd name="connsiteY92" fmla="*/ 6571459 h 6857999"/>
              <a:gd name="connsiteX93" fmla="*/ 10336886 w 12192000"/>
              <a:gd name="connsiteY93" fmla="*/ 6575304 h 6857999"/>
              <a:gd name="connsiteX94" fmla="*/ 10333628 w 12192000"/>
              <a:gd name="connsiteY94" fmla="*/ 6594759 h 6857999"/>
              <a:gd name="connsiteX95" fmla="*/ 10333068 w 12192000"/>
              <a:gd name="connsiteY95" fmla="*/ 6598854 h 6857999"/>
              <a:gd name="connsiteX96" fmla="*/ 10336076 w 12192000"/>
              <a:gd name="connsiteY96" fmla="*/ 6602698 h 6857999"/>
              <a:gd name="connsiteX97" fmla="*/ 10392408 w 12192000"/>
              <a:gd name="connsiteY97" fmla="*/ 6611237 h 6857999"/>
              <a:gd name="connsiteX98" fmla="*/ 10458567 w 12192000"/>
              <a:gd name="connsiteY98" fmla="*/ 6558867 h 6857999"/>
              <a:gd name="connsiteX99" fmla="*/ 10414935 w 12192000"/>
              <a:gd name="connsiteY99" fmla="*/ 6510324 h 6857999"/>
              <a:gd name="connsiteX100" fmla="*/ 10410481 w 12192000"/>
              <a:gd name="connsiteY100" fmla="*/ 6509516 h 6857999"/>
              <a:gd name="connsiteX101" fmla="*/ 10387429 w 12192000"/>
              <a:gd name="connsiteY101" fmla="*/ 6492487 h 6857999"/>
              <a:gd name="connsiteX102" fmla="*/ 10409437 w 12192000"/>
              <a:gd name="connsiteY102" fmla="*/ 6478285 h 6857999"/>
              <a:gd name="connsiteX103" fmla="*/ 10440202 w 12192000"/>
              <a:gd name="connsiteY103" fmla="*/ 6481821 h 6857999"/>
              <a:gd name="connsiteX104" fmla="*/ 10445674 w 12192000"/>
              <a:gd name="connsiteY104" fmla="*/ 6482663 h 6857999"/>
              <a:gd name="connsiteX105" fmla="*/ 10449526 w 12192000"/>
              <a:gd name="connsiteY105" fmla="*/ 6479903 h 6857999"/>
              <a:gd name="connsiteX106" fmla="*/ 10453378 w 12192000"/>
              <a:gd name="connsiteY106" fmla="*/ 6459872 h 6857999"/>
              <a:gd name="connsiteX107" fmla="*/ 10453646 w 12192000"/>
              <a:gd name="connsiteY107" fmla="*/ 6457696 h 6857999"/>
              <a:gd name="connsiteX108" fmla="*/ 10447889 w 12192000"/>
              <a:gd name="connsiteY108" fmla="*/ 6451916 h 6857999"/>
              <a:gd name="connsiteX109" fmla="*/ 10401190 w 12192000"/>
              <a:gd name="connsiteY109" fmla="*/ 6445921 h 6857999"/>
              <a:gd name="connsiteX110" fmla="*/ 11568246 w 12192000"/>
              <a:gd name="connsiteY110" fmla="*/ 6445912 h 6857999"/>
              <a:gd name="connsiteX111" fmla="*/ 11489963 w 12192000"/>
              <a:gd name="connsiteY111" fmla="*/ 6529780 h 6857999"/>
              <a:gd name="connsiteX112" fmla="*/ 11576752 w 12192000"/>
              <a:gd name="connsiteY112" fmla="*/ 6611495 h 6857999"/>
              <a:gd name="connsiteX113" fmla="*/ 11633068 w 12192000"/>
              <a:gd name="connsiteY113" fmla="*/ 6601597 h 6857999"/>
              <a:gd name="connsiteX114" fmla="*/ 11637187 w 12192000"/>
              <a:gd name="connsiteY114" fmla="*/ 6596410 h 6857999"/>
              <a:gd name="connsiteX115" fmla="*/ 11636936 w 12192000"/>
              <a:gd name="connsiteY115" fmla="*/ 6594200 h 6857999"/>
              <a:gd name="connsiteX116" fmla="*/ 11632533 w 12192000"/>
              <a:gd name="connsiteY116" fmla="*/ 6576112 h 6857999"/>
              <a:gd name="connsiteX117" fmla="*/ 11632533 w 12192000"/>
              <a:gd name="connsiteY117" fmla="*/ 6576379 h 6857999"/>
              <a:gd name="connsiteX118" fmla="*/ 11627570 w 12192000"/>
              <a:gd name="connsiteY118" fmla="*/ 6571726 h 6857999"/>
              <a:gd name="connsiteX119" fmla="*/ 11623994 w 12192000"/>
              <a:gd name="connsiteY119" fmla="*/ 6572284 h 6857999"/>
              <a:gd name="connsiteX120" fmla="*/ 11624278 w 12192000"/>
              <a:gd name="connsiteY120" fmla="*/ 6572284 h 6857999"/>
              <a:gd name="connsiteX121" fmla="*/ 11586085 w 12192000"/>
              <a:gd name="connsiteY121" fmla="*/ 6578580 h 6857999"/>
              <a:gd name="connsiteX122" fmla="*/ 11556398 w 12192000"/>
              <a:gd name="connsiteY122" fmla="*/ 6573886 h 6857999"/>
              <a:gd name="connsiteX123" fmla="*/ 11543505 w 12192000"/>
              <a:gd name="connsiteY123" fmla="*/ 6549260 h 6857999"/>
              <a:gd name="connsiteX124" fmla="*/ 11636936 w 12192000"/>
              <a:gd name="connsiteY124" fmla="*/ 6549260 h 6857999"/>
              <a:gd name="connsiteX125" fmla="*/ 11644331 w 12192000"/>
              <a:gd name="connsiteY125" fmla="*/ 6540754 h 6857999"/>
              <a:gd name="connsiteX126" fmla="*/ 11644331 w 12192000"/>
              <a:gd name="connsiteY126" fmla="*/ 6526210 h 6857999"/>
              <a:gd name="connsiteX127" fmla="*/ 11628397 w 12192000"/>
              <a:gd name="connsiteY127" fmla="*/ 6464525 h 6857999"/>
              <a:gd name="connsiteX128" fmla="*/ 11568246 w 12192000"/>
              <a:gd name="connsiteY128" fmla="*/ 6445912 h 6857999"/>
              <a:gd name="connsiteX129" fmla="*/ 10560747 w 12192000"/>
              <a:gd name="connsiteY129" fmla="*/ 6445912 h 6857999"/>
              <a:gd name="connsiteX130" fmla="*/ 10482214 w 12192000"/>
              <a:gd name="connsiteY130" fmla="*/ 6528988 h 6857999"/>
              <a:gd name="connsiteX131" fmla="*/ 10560747 w 12192000"/>
              <a:gd name="connsiteY131" fmla="*/ 6611496 h 6857999"/>
              <a:gd name="connsiteX132" fmla="*/ 10639314 w 12192000"/>
              <a:gd name="connsiteY132" fmla="*/ 6528988 h 6857999"/>
              <a:gd name="connsiteX133" fmla="*/ 10560747 w 12192000"/>
              <a:gd name="connsiteY133" fmla="*/ 6445912 h 6857999"/>
              <a:gd name="connsiteX134" fmla="*/ 11283665 w 12192000"/>
              <a:gd name="connsiteY134" fmla="*/ 6445904 h 6857999"/>
              <a:gd name="connsiteX135" fmla="*/ 11215576 w 12192000"/>
              <a:gd name="connsiteY135" fmla="*/ 6457112 h 6857999"/>
              <a:gd name="connsiteX136" fmla="*/ 11211716 w 12192000"/>
              <a:gd name="connsiteY136" fmla="*/ 6461240 h 6857999"/>
              <a:gd name="connsiteX137" fmla="*/ 11211716 w 12192000"/>
              <a:gd name="connsiteY137" fmla="*/ 6462316 h 6857999"/>
              <a:gd name="connsiteX138" fmla="*/ 11212000 w 12192000"/>
              <a:gd name="connsiteY138" fmla="*/ 6463158 h 6857999"/>
              <a:gd name="connsiteX139" fmla="*/ 11217197 w 12192000"/>
              <a:gd name="connsiteY139" fmla="*/ 6485899 h 6857999"/>
              <a:gd name="connsiteX140" fmla="*/ 11219979 w 12192000"/>
              <a:gd name="connsiteY140" fmla="*/ 6488109 h 6857999"/>
              <a:gd name="connsiteX141" fmla="*/ 11222177 w 12192000"/>
              <a:gd name="connsiteY141" fmla="*/ 6487826 h 6857999"/>
              <a:gd name="connsiteX142" fmla="*/ 11271884 w 12192000"/>
              <a:gd name="connsiteY142" fmla="*/ 6479620 h 6857999"/>
              <a:gd name="connsiteX143" fmla="*/ 11292171 w 12192000"/>
              <a:gd name="connsiteY143" fmla="*/ 6482330 h 6857999"/>
              <a:gd name="connsiteX144" fmla="*/ 11298788 w 12192000"/>
              <a:gd name="connsiteY144" fmla="*/ 6497974 h 6857999"/>
              <a:gd name="connsiteX145" fmla="*/ 11298788 w 12192000"/>
              <a:gd name="connsiteY145" fmla="*/ 6504829 h 6857999"/>
              <a:gd name="connsiteX146" fmla="*/ 11246893 w 12192000"/>
              <a:gd name="connsiteY146" fmla="*/ 6513068 h 6857999"/>
              <a:gd name="connsiteX147" fmla="*/ 11201564 w 12192000"/>
              <a:gd name="connsiteY147" fmla="*/ 6559626 h 6857999"/>
              <a:gd name="connsiteX148" fmla="*/ 11276245 w 12192000"/>
              <a:gd name="connsiteY148" fmla="*/ 6611488 h 6857999"/>
              <a:gd name="connsiteX149" fmla="*/ 11320462 w 12192000"/>
              <a:gd name="connsiteY149" fmla="*/ 6607661 h 6857999"/>
              <a:gd name="connsiteX150" fmla="*/ 11350467 w 12192000"/>
              <a:gd name="connsiteY150" fmla="*/ 6576096 h 6857999"/>
              <a:gd name="connsiteX151" fmla="*/ 11350467 w 12192000"/>
              <a:gd name="connsiteY151" fmla="*/ 6493304 h 6857999"/>
              <a:gd name="connsiteX152" fmla="*/ 11330639 w 12192000"/>
              <a:gd name="connsiteY152" fmla="*/ 6454936 h 6857999"/>
              <a:gd name="connsiteX153" fmla="*/ 11283665 w 12192000"/>
              <a:gd name="connsiteY153" fmla="*/ 6445904 h 6857999"/>
              <a:gd name="connsiteX154" fmla="*/ 10734048 w 12192000"/>
              <a:gd name="connsiteY154" fmla="*/ 6380908 h 6857999"/>
              <a:gd name="connsiteX155" fmla="*/ 10680815 w 12192000"/>
              <a:gd name="connsiteY155" fmla="*/ 6429993 h 6857999"/>
              <a:gd name="connsiteX156" fmla="*/ 10680815 w 12192000"/>
              <a:gd name="connsiteY156" fmla="*/ 6449715 h 6857999"/>
              <a:gd name="connsiteX157" fmla="*/ 10657453 w 12192000"/>
              <a:gd name="connsiteY157" fmla="*/ 6449715 h 6857999"/>
              <a:gd name="connsiteX158" fmla="*/ 10653593 w 12192000"/>
              <a:gd name="connsiteY158" fmla="*/ 6453560 h 6857999"/>
              <a:gd name="connsiteX159" fmla="*/ 10653593 w 12192000"/>
              <a:gd name="connsiteY159" fmla="*/ 6481805 h 6857999"/>
              <a:gd name="connsiteX160" fmla="*/ 10657453 w 12192000"/>
              <a:gd name="connsiteY160" fmla="*/ 6485658 h 6857999"/>
              <a:gd name="connsiteX161" fmla="*/ 10680815 w 12192000"/>
              <a:gd name="connsiteY161" fmla="*/ 6485658 h 6857999"/>
              <a:gd name="connsiteX162" fmla="*/ 10680815 w 12192000"/>
              <a:gd name="connsiteY162" fmla="*/ 6603808 h 6857999"/>
              <a:gd name="connsiteX163" fmla="*/ 10684650 w 12192000"/>
              <a:gd name="connsiteY163" fmla="*/ 6607661 h 6857999"/>
              <a:gd name="connsiteX164" fmla="*/ 10729152 w 12192000"/>
              <a:gd name="connsiteY164" fmla="*/ 6607661 h 6857999"/>
              <a:gd name="connsiteX165" fmla="*/ 10732987 w 12192000"/>
              <a:gd name="connsiteY165" fmla="*/ 6603808 h 6857999"/>
              <a:gd name="connsiteX166" fmla="*/ 10732987 w 12192000"/>
              <a:gd name="connsiteY166" fmla="*/ 6485666 h 6857999"/>
              <a:gd name="connsiteX167" fmla="*/ 10803875 w 12192000"/>
              <a:gd name="connsiteY167" fmla="*/ 6485666 h 6857999"/>
              <a:gd name="connsiteX168" fmla="*/ 10803875 w 12192000"/>
              <a:gd name="connsiteY168" fmla="*/ 6559126 h 6857999"/>
              <a:gd name="connsiteX169" fmla="*/ 10860191 w 12192000"/>
              <a:gd name="connsiteY169" fmla="*/ 6610112 h 6857999"/>
              <a:gd name="connsiteX170" fmla="*/ 10898610 w 12192000"/>
              <a:gd name="connsiteY170" fmla="*/ 6604608 h 6857999"/>
              <a:gd name="connsiteX171" fmla="*/ 10902746 w 12192000"/>
              <a:gd name="connsiteY171" fmla="*/ 6599688 h 6857999"/>
              <a:gd name="connsiteX172" fmla="*/ 10902495 w 12192000"/>
              <a:gd name="connsiteY172" fmla="*/ 6597228 h 6857999"/>
              <a:gd name="connsiteX173" fmla="*/ 10898342 w 12192000"/>
              <a:gd name="connsiteY173" fmla="*/ 6575563 h 6857999"/>
              <a:gd name="connsiteX174" fmla="*/ 10895050 w 12192000"/>
              <a:gd name="connsiteY174" fmla="*/ 6572277 h 6857999"/>
              <a:gd name="connsiteX175" fmla="*/ 10892869 w 12192000"/>
              <a:gd name="connsiteY175" fmla="*/ 6572527 h 6857999"/>
              <a:gd name="connsiteX176" fmla="*/ 10891482 w 12192000"/>
              <a:gd name="connsiteY176" fmla="*/ 6572811 h 6857999"/>
              <a:gd name="connsiteX177" fmla="*/ 10874170 w 12192000"/>
              <a:gd name="connsiteY177" fmla="*/ 6574162 h 6857999"/>
              <a:gd name="connsiteX178" fmla="*/ 10855487 w 12192000"/>
              <a:gd name="connsiteY178" fmla="*/ 6555799 h 6857999"/>
              <a:gd name="connsiteX179" fmla="*/ 10855487 w 12192000"/>
              <a:gd name="connsiteY179" fmla="*/ 6485891 h 6857999"/>
              <a:gd name="connsiteX180" fmla="*/ 10933761 w 12192000"/>
              <a:gd name="connsiteY180" fmla="*/ 6485891 h 6857999"/>
              <a:gd name="connsiteX181" fmla="*/ 10933761 w 12192000"/>
              <a:gd name="connsiteY181" fmla="*/ 6588722 h 6857999"/>
              <a:gd name="connsiteX182" fmla="*/ 10960139 w 12192000"/>
              <a:gd name="connsiteY182" fmla="*/ 6605985 h 6857999"/>
              <a:gd name="connsiteX183" fmla="*/ 11007123 w 12192000"/>
              <a:gd name="connsiteY183" fmla="*/ 6611730 h 6857999"/>
              <a:gd name="connsiteX184" fmla="*/ 11057673 w 12192000"/>
              <a:gd name="connsiteY184" fmla="*/ 6598004 h 6857999"/>
              <a:gd name="connsiteX185" fmla="*/ 11116396 w 12192000"/>
              <a:gd name="connsiteY185" fmla="*/ 6611730 h 6857999"/>
              <a:gd name="connsiteX186" fmla="*/ 11178218 w 12192000"/>
              <a:gd name="connsiteY186" fmla="*/ 6566215 h 6857999"/>
              <a:gd name="connsiteX187" fmla="*/ 11178218 w 12192000"/>
              <a:gd name="connsiteY187" fmla="*/ 6453560 h 6857999"/>
              <a:gd name="connsiteX188" fmla="*/ 11174400 w 12192000"/>
              <a:gd name="connsiteY188" fmla="*/ 6449715 h 6857999"/>
              <a:gd name="connsiteX189" fmla="*/ 11130149 w 12192000"/>
              <a:gd name="connsiteY189" fmla="*/ 6449715 h 6857999"/>
              <a:gd name="connsiteX190" fmla="*/ 11126297 w 12192000"/>
              <a:gd name="connsiteY190" fmla="*/ 6453560 h 6857999"/>
              <a:gd name="connsiteX191" fmla="*/ 11126297 w 12192000"/>
              <a:gd name="connsiteY191" fmla="*/ 6558851 h 6857999"/>
              <a:gd name="connsiteX192" fmla="*/ 11103796 w 12192000"/>
              <a:gd name="connsiteY192" fmla="*/ 6579941 h 6857999"/>
              <a:gd name="connsiteX193" fmla="*/ 11082063 w 12192000"/>
              <a:gd name="connsiteY193" fmla="*/ 6576897 h 6857999"/>
              <a:gd name="connsiteX194" fmla="*/ 11082063 w 12192000"/>
              <a:gd name="connsiteY194" fmla="*/ 6453560 h 6857999"/>
              <a:gd name="connsiteX195" fmla="*/ 11078228 w 12192000"/>
              <a:gd name="connsiteY195" fmla="*/ 6449715 h 6857999"/>
              <a:gd name="connsiteX196" fmla="*/ 11034027 w 12192000"/>
              <a:gd name="connsiteY196" fmla="*/ 6449715 h 6857999"/>
              <a:gd name="connsiteX197" fmla="*/ 11030175 w 12192000"/>
              <a:gd name="connsiteY197" fmla="*/ 6453560 h 6857999"/>
              <a:gd name="connsiteX198" fmla="*/ 11030175 w 12192000"/>
              <a:gd name="connsiteY198" fmla="*/ 6558851 h 6857999"/>
              <a:gd name="connsiteX199" fmla="*/ 11011492 w 12192000"/>
              <a:gd name="connsiteY199" fmla="*/ 6579941 h 6857999"/>
              <a:gd name="connsiteX200" fmla="*/ 10985674 w 12192000"/>
              <a:gd name="connsiteY200" fmla="*/ 6577197 h 6857999"/>
              <a:gd name="connsiteX201" fmla="*/ 10985674 w 12192000"/>
              <a:gd name="connsiteY201" fmla="*/ 6453560 h 6857999"/>
              <a:gd name="connsiteX202" fmla="*/ 10981855 w 12192000"/>
              <a:gd name="connsiteY202" fmla="*/ 6449715 h 6857999"/>
              <a:gd name="connsiteX203" fmla="*/ 10855478 w 12192000"/>
              <a:gd name="connsiteY203" fmla="*/ 6449715 h 6857999"/>
              <a:gd name="connsiteX204" fmla="*/ 10855478 w 12192000"/>
              <a:gd name="connsiteY204" fmla="*/ 6400922 h 6857999"/>
              <a:gd name="connsiteX205" fmla="*/ 10850532 w 12192000"/>
              <a:gd name="connsiteY205" fmla="*/ 6395735 h 6857999"/>
              <a:gd name="connsiteX206" fmla="*/ 10847257 w 12192000"/>
              <a:gd name="connsiteY206" fmla="*/ 6396277 h 6857999"/>
              <a:gd name="connsiteX207" fmla="*/ 10809315 w 12192000"/>
              <a:gd name="connsiteY207" fmla="*/ 6402866 h 6857999"/>
              <a:gd name="connsiteX208" fmla="*/ 10803858 w 12192000"/>
              <a:gd name="connsiteY208" fmla="*/ 6410529 h 6857999"/>
              <a:gd name="connsiteX209" fmla="*/ 10803858 w 12192000"/>
              <a:gd name="connsiteY209" fmla="*/ 6449724 h 6857999"/>
              <a:gd name="connsiteX210" fmla="*/ 10732979 w 12192000"/>
              <a:gd name="connsiteY210" fmla="*/ 6449724 h 6857999"/>
              <a:gd name="connsiteX211" fmla="*/ 10732979 w 12192000"/>
              <a:gd name="connsiteY211" fmla="*/ 6432470 h 6857999"/>
              <a:gd name="connsiteX212" fmla="*/ 10736822 w 12192000"/>
              <a:gd name="connsiteY212" fmla="*/ 6420119 h 6857999"/>
              <a:gd name="connsiteX213" fmla="*/ 10751403 w 12192000"/>
              <a:gd name="connsiteY213" fmla="*/ 6416583 h 6857999"/>
              <a:gd name="connsiteX214" fmla="*/ 10766493 w 12192000"/>
              <a:gd name="connsiteY214" fmla="*/ 6417934 h 6857999"/>
              <a:gd name="connsiteX215" fmla="*/ 10768415 w 12192000"/>
              <a:gd name="connsiteY215" fmla="*/ 6418201 h 6857999"/>
              <a:gd name="connsiteX216" fmla="*/ 10772233 w 12192000"/>
              <a:gd name="connsiteY216" fmla="*/ 6418760 h 6857999"/>
              <a:gd name="connsiteX217" fmla="*/ 10774982 w 12192000"/>
              <a:gd name="connsiteY217" fmla="*/ 6414916 h 6857999"/>
              <a:gd name="connsiteX218" fmla="*/ 10778324 w 12192000"/>
              <a:gd name="connsiteY218" fmla="*/ 6392983 h 6857999"/>
              <a:gd name="connsiteX219" fmla="*/ 10778575 w 12192000"/>
              <a:gd name="connsiteY219" fmla="*/ 6390524 h 6857999"/>
              <a:gd name="connsiteX220" fmla="*/ 10775550 w 12192000"/>
              <a:gd name="connsiteY220" fmla="*/ 6386128 h 6857999"/>
              <a:gd name="connsiteX221" fmla="*/ 10734048 w 12192000"/>
              <a:gd name="connsiteY221" fmla="*/ 6380908 h 6857999"/>
              <a:gd name="connsiteX222" fmla="*/ 10182569 w 12192000"/>
              <a:gd name="connsiteY222" fmla="*/ 6345000 h 6857999"/>
              <a:gd name="connsiteX223" fmla="*/ 10081200 w 12192000"/>
              <a:gd name="connsiteY223" fmla="*/ 6451084 h 6857999"/>
              <a:gd name="connsiteX224" fmla="*/ 10081200 w 12192000"/>
              <a:gd name="connsiteY224" fmla="*/ 6508391 h 6857999"/>
              <a:gd name="connsiteX225" fmla="*/ 10144117 w 12192000"/>
              <a:gd name="connsiteY225" fmla="*/ 6508391 h 6857999"/>
              <a:gd name="connsiteX226" fmla="*/ 10144117 w 12192000"/>
              <a:gd name="connsiteY226" fmla="*/ 6455771 h 6857999"/>
              <a:gd name="connsiteX227" fmla="*/ 10188627 w 12192000"/>
              <a:gd name="connsiteY227" fmla="*/ 6407244 h 6857999"/>
              <a:gd name="connsiteX228" fmla="*/ 10210853 w 12192000"/>
              <a:gd name="connsiteY228" fmla="*/ 6407244 h 6857999"/>
              <a:gd name="connsiteX229" fmla="*/ 10217470 w 12192000"/>
              <a:gd name="connsiteY229" fmla="*/ 6345000 h 6857999"/>
              <a:gd name="connsiteX230" fmla="*/ 0 w 12192000"/>
              <a:gd name="connsiteY230" fmla="*/ 0 h 6857999"/>
              <a:gd name="connsiteX231" fmla="*/ 12192000 w 12192000"/>
              <a:gd name="connsiteY231" fmla="*/ 0 h 6857999"/>
              <a:gd name="connsiteX232" fmla="*/ 12192000 w 12192000"/>
              <a:gd name="connsiteY232" fmla="*/ 6857999 h 6857999"/>
              <a:gd name="connsiteX233" fmla="*/ 0 w 12192000"/>
              <a:gd name="connsiteY233"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Lst>
            <a:rect l="l" t="t" r="r" b="b"/>
            <a:pathLst>
              <a:path w="12192000" h="6857999">
                <a:moveTo>
                  <a:pt x="11298788" y="6533358"/>
                </a:moveTo>
                <a:lnTo>
                  <a:pt x="11298788" y="6577748"/>
                </a:lnTo>
                <a:cubicBezTo>
                  <a:pt x="11297151" y="6578323"/>
                  <a:pt x="11288361" y="6580508"/>
                  <a:pt x="11277098" y="6580508"/>
                </a:cubicBezTo>
                <a:cubicBezTo>
                  <a:pt x="11266653" y="6580500"/>
                  <a:pt x="11251296" y="6578315"/>
                  <a:pt x="11251296" y="6559126"/>
                </a:cubicBezTo>
                <a:cubicBezTo>
                  <a:pt x="11251296" y="6541847"/>
                  <a:pt x="11260069" y="6539654"/>
                  <a:pt x="11271583" y="6537753"/>
                </a:cubicBezTo>
                <a:close/>
                <a:moveTo>
                  <a:pt x="10560747" y="6479619"/>
                </a:moveTo>
                <a:cubicBezTo>
                  <a:pt x="10584945" y="6479619"/>
                  <a:pt x="10586349" y="6493888"/>
                  <a:pt x="10586349" y="6528988"/>
                </a:cubicBezTo>
                <a:cubicBezTo>
                  <a:pt x="10586349" y="6563788"/>
                  <a:pt x="10584953" y="6577739"/>
                  <a:pt x="10560747" y="6577739"/>
                </a:cubicBezTo>
                <a:cubicBezTo>
                  <a:pt x="10536608" y="6577739"/>
                  <a:pt x="10535246" y="6563788"/>
                  <a:pt x="10535246" y="6528988"/>
                </a:cubicBezTo>
                <a:cubicBezTo>
                  <a:pt x="10535246" y="6493888"/>
                  <a:pt x="10536617" y="6479619"/>
                  <a:pt x="10560747" y="6479619"/>
                </a:cubicBezTo>
                <a:close/>
                <a:moveTo>
                  <a:pt x="11568237" y="6479077"/>
                </a:moveTo>
                <a:cubicBezTo>
                  <a:pt x="11583069" y="6479077"/>
                  <a:pt x="11589928" y="6484823"/>
                  <a:pt x="11592661" y="6494421"/>
                </a:cubicBezTo>
                <a:cubicBezTo>
                  <a:pt x="11594332" y="6500184"/>
                  <a:pt x="11594332" y="6509499"/>
                  <a:pt x="11594332" y="6515511"/>
                </a:cubicBezTo>
                <a:lnTo>
                  <a:pt x="11594332" y="6519889"/>
                </a:lnTo>
                <a:lnTo>
                  <a:pt x="11542987" y="6519889"/>
                </a:lnTo>
                <a:lnTo>
                  <a:pt x="11542987" y="6517179"/>
                </a:lnTo>
                <a:cubicBezTo>
                  <a:pt x="11542987" y="6512801"/>
                  <a:pt x="11543229" y="6502627"/>
                  <a:pt x="11544357" y="6496340"/>
                </a:cubicBezTo>
                <a:cubicBezTo>
                  <a:pt x="11546505" y="6485899"/>
                  <a:pt x="11552312" y="6479077"/>
                  <a:pt x="11568237" y="6479077"/>
                </a:cubicBezTo>
                <a:close/>
                <a:moveTo>
                  <a:pt x="11720656" y="6460415"/>
                </a:moveTo>
                <a:lnTo>
                  <a:pt x="11725886" y="6460415"/>
                </a:lnTo>
                <a:lnTo>
                  <a:pt x="11733582" y="6487000"/>
                </a:lnTo>
                <a:lnTo>
                  <a:pt x="11712977" y="6487000"/>
                </a:lnTo>
                <a:close/>
                <a:moveTo>
                  <a:pt x="11710245" y="6450024"/>
                </a:moveTo>
                <a:cubicBezTo>
                  <a:pt x="11709668" y="6450024"/>
                  <a:pt x="11709417" y="6450533"/>
                  <a:pt x="11709167" y="6450850"/>
                </a:cubicBezTo>
                <a:lnTo>
                  <a:pt x="11687317" y="6515787"/>
                </a:lnTo>
                <a:cubicBezTo>
                  <a:pt x="11687317" y="6515787"/>
                  <a:pt x="11687033" y="6516646"/>
                  <a:pt x="11687033" y="6516896"/>
                </a:cubicBezTo>
                <a:cubicBezTo>
                  <a:pt x="11687033" y="6517180"/>
                  <a:pt x="11687317" y="6517455"/>
                  <a:pt x="11687827" y="6517455"/>
                </a:cubicBezTo>
                <a:lnTo>
                  <a:pt x="11703886" y="6517455"/>
                </a:lnTo>
                <a:cubicBezTo>
                  <a:pt x="11704488" y="6517455"/>
                  <a:pt x="11704747" y="6516896"/>
                  <a:pt x="11705014" y="6516329"/>
                </a:cubicBezTo>
                <a:lnTo>
                  <a:pt x="11709977" y="6497716"/>
                </a:lnTo>
                <a:lnTo>
                  <a:pt x="11736581" y="6497716"/>
                </a:lnTo>
                <a:lnTo>
                  <a:pt x="11741528" y="6516329"/>
                </a:lnTo>
                <a:cubicBezTo>
                  <a:pt x="11741779" y="6516905"/>
                  <a:pt x="11742113" y="6517455"/>
                  <a:pt x="11742656" y="6517455"/>
                </a:cubicBezTo>
                <a:lnTo>
                  <a:pt x="11757763" y="6517455"/>
                </a:lnTo>
                <a:cubicBezTo>
                  <a:pt x="11758272" y="6517455"/>
                  <a:pt x="11758573" y="6517188"/>
                  <a:pt x="11758573" y="6516896"/>
                </a:cubicBezTo>
                <a:cubicBezTo>
                  <a:pt x="11758573" y="6516646"/>
                  <a:pt x="11758272" y="6515787"/>
                  <a:pt x="11758272" y="6515787"/>
                </a:cubicBezTo>
                <a:lnTo>
                  <a:pt x="11737442" y="6450850"/>
                </a:lnTo>
                <a:cubicBezTo>
                  <a:pt x="11737158" y="6450533"/>
                  <a:pt x="11736581" y="6450024"/>
                  <a:pt x="11736314" y="6450024"/>
                </a:cubicBezTo>
                <a:close/>
                <a:moveTo>
                  <a:pt x="10188067" y="6449732"/>
                </a:moveTo>
                <a:lnTo>
                  <a:pt x="10188067" y="6496048"/>
                </a:lnTo>
                <a:cubicBezTo>
                  <a:pt x="10188067" y="6528438"/>
                  <a:pt x="10174898" y="6547343"/>
                  <a:pt x="10143574" y="6547343"/>
                </a:cubicBezTo>
                <a:lnTo>
                  <a:pt x="10120796" y="6547343"/>
                </a:lnTo>
                <a:lnTo>
                  <a:pt x="10114179" y="6609537"/>
                </a:lnTo>
                <a:lnTo>
                  <a:pt x="10146874" y="6609537"/>
                </a:lnTo>
                <a:cubicBezTo>
                  <a:pt x="10205104" y="6609537"/>
                  <a:pt x="10250959" y="6567341"/>
                  <a:pt x="10250959" y="6500735"/>
                </a:cubicBezTo>
                <a:lnTo>
                  <a:pt x="10250959" y="6449732"/>
                </a:lnTo>
                <a:close/>
                <a:moveTo>
                  <a:pt x="11804146" y="6448589"/>
                </a:moveTo>
                <a:cubicBezTo>
                  <a:pt x="11779999" y="6448623"/>
                  <a:pt x="11769822" y="6457988"/>
                  <a:pt x="11769822" y="6483747"/>
                </a:cubicBezTo>
                <a:cubicBezTo>
                  <a:pt x="11769822" y="6508931"/>
                  <a:pt x="11778060" y="6518563"/>
                  <a:pt x="11805809" y="6518563"/>
                </a:cubicBezTo>
                <a:cubicBezTo>
                  <a:pt x="11812677" y="6518563"/>
                  <a:pt x="11820916" y="6517454"/>
                  <a:pt x="11825035" y="6516645"/>
                </a:cubicBezTo>
                <a:lnTo>
                  <a:pt x="11824792" y="6516645"/>
                </a:lnTo>
                <a:cubicBezTo>
                  <a:pt x="11829739" y="6515294"/>
                  <a:pt x="11830800" y="6513343"/>
                  <a:pt x="11830800" y="6508698"/>
                </a:cubicBezTo>
                <a:lnTo>
                  <a:pt x="11830800" y="6480678"/>
                </a:lnTo>
                <a:cubicBezTo>
                  <a:pt x="11830800" y="6479886"/>
                  <a:pt x="11830516" y="6479619"/>
                  <a:pt x="11829730" y="6479619"/>
                </a:cubicBezTo>
                <a:lnTo>
                  <a:pt x="11804146" y="6479619"/>
                </a:lnTo>
                <a:cubicBezTo>
                  <a:pt x="11803302" y="6479619"/>
                  <a:pt x="11803068" y="6479886"/>
                  <a:pt x="11803068" y="6480678"/>
                </a:cubicBezTo>
                <a:lnTo>
                  <a:pt x="11803068" y="6488917"/>
                </a:lnTo>
                <a:cubicBezTo>
                  <a:pt x="11803068" y="6490026"/>
                  <a:pt x="11803879" y="6490310"/>
                  <a:pt x="11804146" y="6490310"/>
                </a:cubicBezTo>
                <a:lnTo>
                  <a:pt x="11815134" y="6491403"/>
                </a:lnTo>
                <a:lnTo>
                  <a:pt x="11815134" y="6507572"/>
                </a:lnTo>
                <a:cubicBezTo>
                  <a:pt x="11815134" y="6507572"/>
                  <a:pt x="11810463" y="6507856"/>
                  <a:pt x="11806327" y="6507856"/>
                </a:cubicBezTo>
                <a:cubicBezTo>
                  <a:pt x="11793451" y="6507856"/>
                  <a:pt x="11786575" y="6504270"/>
                  <a:pt x="11786575" y="6484273"/>
                </a:cubicBezTo>
                <a:cubicBezTo>
                  <a:pt x="11786575" y="6463466"/>
                  <a:pt x="11793986" y="6460147"/>
                  <a:pt x="11808249" y="6460147"/>
                </a:cubicBezTo>
                <a:cubicBezTo>
                  <a:pt x="11814323" y="6460147"/>
                  <a:pt x="11820631" y="6461223"/>
                  <a:pt x="11824784" y="6462049"/>
                </a:cubicBezTo>
                <a:cubicBezTo>
                  <a:pt x="11825018" y="6462299"/>
                  <a:pt x="11825595" y="6462299"/>
                  <a:pt x="11826138" y="6462299"/>
                </a:cubicBezTo>
                <a:cubicBezTo>
                  <a:pt x="11826138" y="6462299"/>
                  <a:pt x="11827508" y="6462566"/>
                  <a:pt x="11828335" y="6462566"/>
                </a:cubicBezTo>
                <a:cubicBezTo>
                  <a:pt x="11829162" y="6462566"/>
                  <a:pt x="11829404" y="6462040"/>
                  <a:pt x="11829730" y="6460689"/>
                </a:cubicBezTo>
                <a:lnTo>
                  <a:pt x="11830508" y="6456278"/>
                </a:lnTo>
                <a:cubicBezTo>
                  <a:pt x="11830792" y="6455469"/>
                  <a:pt x="11830792" y="6454360"/>
                  <a:pt x="11830792" y="6454101"/>
                </a:cubicBezTo>
                <a:cubicBezTo>
                  <a:pt x="11830792" y="6453276"/>
                  <a:pt x="11829981" y="6453009"/>
                  <a:pt x="11829396" y="6452434"/>
                </a:cubicBezTo>
                <a:cubicBezTo>
                  <a:pt x="11827215" y="6451625"/>
                  <a:pt x="11817615" y="6448589"/>
                  <a:pt x="11804146" y="6448589"/>
                </a:cubicBezTo>
                <a:close/>
                <a:moveTo>
                  <a:pt x="11468798" y="6446454"/>
                </a:moveTo>
                <a:cubicBezTo>
                  <a:pt x="11449831" y="6446454"/>
                  <a:pt x="11429544" y="6448631"/>
                  <a:pt x="11414988" y="6451917"/>
                </a:cubicBezTo>
                <a:cubicBezTo>
                  <a:pt x="11397366" y="6455769"/>
                  <a:pt x="11388050" y="6459055"/>
                  <a:pt x="11388050" y="6469487"/>
                </a:cubicBezTo>
                <a:lnTo>
                  <a:pt x="11388050" y="6603823"/>
                </a:lnTo>
                <a:cubicBezTo>
                  <a:pt x="11388050" y="6606017"/>
                  <a:pt x="11389704" y="6607676"/>
                  <a:pt x="11391919" y="6607676"/>
                </a:cubicBezTo>
                <a:lnTo>
                  <a:pt x="11436086" y="6607676"/>
                </a:lnTo>
                <a:cubicBezTo>
                  <a:pt x="11438300" y="6607676"/>
                  <a:pt x="11439963" y="6606008"/>
                  <a:pt x="11439963" y="6603823"/>
                </a:cubicBezTo>
                <a:lnTo>
                  <a:pt x="11439963" y="6485899"/>
                </a:lnTo>
                <a:cubicBezTo>
                  <a:pt x="11442712" y="6485340"/>
                  <a:pt x="11457259" y="6483455"/>
                  <a:pt x="11474847" y="6483455"/>
                </a:cubicBezTo>
                <a:cubicBezTo>
                  <a:pt x="11480345" y="6483455"/>
                  <a:pt x="11480345" y="6480428"/>
                  <a:pt x="11480345" y="6477109"/>
                </a:cubicBezTo>
                <a:lnTo>
                  <a:pt x="11480345" y="6452750"/>
                </a:lnTo>
                <a:cubicBezTo>
                  <a:pt x="11480345" y="6448055"/>
                  <a:pt x="11478139" y="6446454"/>
                  <a:pt x="11474003" y="6446454"/>
                </a:cubicBezTo>
                <a:close/>
                <a:moveTo>
                  <a:pt x="10401190" y="6445921"/>
                </a:moveTo>
                <a:cubicBezTo>
                  <a:pt x="10374854" y="6445912"/>
                  <a:pt x="10335023" y="6450273"/>
                  <a:pt x="10335023" y="6496039"/>
                </a:cubicBezTo>
                <a:cubicBezTo>
                  <a:pt x="10335023" y="6536076"/>
                  <a:pt x="10361911" y="6541838"/>
                  <a:pt x="10382516" y="6545666"/>
                </a:cubicBezTo>
                <a:lnTo>
                  <a:pt x="10385549" y="6546191"/>
                </a:lnTo>
                <a:cubicBezTo>
                  <a:pt x="10399811" y="6548985"/>
                  <a:pt x="10406153" y="6550603"/>
                  <a:pt x="10406153" y="6563203"/>
                </a:cubicBezTo>
                <a:cubicBezTo>
                  <a:pt x="10406153" y="6575562"/>
                  <a:pt x="10395149" y="6578581"/>
                  <a:pt x="10384972" y="6578581"/>
                </a:cubicBezTo>
                <a:cubicBezTo>
                  <a:pt x="10369339" y="6578581"/>
                  <a:pt x="10350656" y="6574169"/>
                  <a:pt x="10343504" y="6572285"/>
                </a:cubicBezTo>
                <a:lnTo>
                  <a:pt x="10343771" y="6572285"/>
                </a:lnTo>
                <a:cubicBezTo>
                  <a:pt x="10343504" y="6572285"/>
                  <a:pt x="10343211" y="6572034"/>
                  <a:pt x="10342961" y="6572034"/>
                </a:cubicBezTo>
                <a:cubicBezTo>
                  <a:pt x="10341866" y="6571734"/>
                  <a:pt x="10340763" y="6571459"/>
                  <a:pt x="10339936" y="6571459"/>
                </a:cubicBezTo>
                <a:cubicBezTo>
                  <a:pt x="10338583" y="6571459"/>
                  <a:pt x="10337187" y="6572535"/>
                  <a:pt x="10336886" y="6575304"/>
                </a:cubicBezTo>
                <a:lnTo>
                  <a:pt x="10333628" y="6594759"/>
                </a:lnTo>
                <a:cubicBezTo>
                  <a:pt x="10333344" y="6596143"/>
                  <a:pt x="10333068" y="6598028"/>
                  <a:pt x="10333068" y="6598854"/>
                </a:cubicBezTo>
                <a:cubicBezTo>
                  <a:pt x="10333068" y="6600772"/>
                  <a:pt x="10333878" y="6601597"/>
                  <a:pt x="10336076" y="6602698"/>
                </a:cubicBezTo>
                <a:cubicBezTo>
                  <a:pt x="10342150" y="6605208"/>
                  <a:pt x="10366841" y="6611237"/>
                  <a:pt x="10392408" y="6611237"/>
                </a:cubicBezTo>
                <a:cubicBezTo>
                  <a:pt x="10430033" y="6611237"/>
                  <a:pt x="10458567" y="6598036"/>
                  <a:pt x="10458567" y="6558867"/>
                </a:cubicBezTo>
                <a:cubicBezTo>
                  <a:pt x="10458567" y="6521307"/>
                  <a:pt x="10436341" y="6514177"/>
                  <a:pt x="10414935" y="6510324"/>
                </a:cubicBezTo>
                <a:lnTo>
                  <a:pt x="10410481" y="6509516"/>
                </a:lnTo>
                <a:cubicBezTo>
                  <a:pt x="10398174" y="6507322"/>
                  <a:pt x="10387429" y="6505121"/>
                  <a:pt x="10387429" y="6492487"/>
                </a:cubicBezTo>
                <a:cubicBezTo>
                  <a:pt x="10387429" y="6479903"/>
                  <a:pt x="10400355" y="6478285"/>
                  <a:pt x="10409437" y="6478285"/>
                </a:cubicBezTo>
                <a:cubicBezTo>
                  <a:pt x="10421235" y="6478285"/>
                  <a:pt x="10433860" y="6480445"/>
                  <a:pt x="10440202" y="6481821"/>
                </a:cubicBezTo>
                <a:cubicBezTo>
                  <a:pt x="10443745" y="6482663"/>
                  <a:pt x="10444588" y="6482663"/>
                  <a:pt x="10445674" y="6482663"/>
                </a:cubicBezTo>
                <a:cubicBezTo>
                  <a:pt x="10447070" y="6482663"/>
                  <a:pt x="10448950" y="6481270"/>
                  <a:pt x="10449526" y="6479903"/>
                </a:cubicBezTo>
                <a:cubicBezTo>
                  <a:pt x="10450638" y="6473315"/>
                  <a:pt x="10452292" y="6466493"/>
                  <a:pt x="10453378" y="6459872"/>
                </a:cubicBezTo>
                <a:cubicBezTo>
                  <a:pt x="10453378" y="6459872"/>
                  <a:pt x="10453646" y="6458504"/>
                  <a:pt x="10453646" y="6457696"/>
                </a:cubicBezTo>
                <a:cubicBezTo>
                  <a:pt x="10453646" y="6454393"/>
                  <a:pt x="10452292" y="6453042"/>
                  <a:pt x="10447889" y="6451916"/>
                </a:cubicBezTo>
                <a:cubicBezTo>
                  <a:pt x="10439366" y="6449723"/>
                  <a:pt x="10422355" y="6445921"/>
                  <a:pt x="10401190" y="6445921"/>
                </a:cubicBezTo>
                <a:close/>
                <a:moveTo>
                  <a:pt x="11568246" y="6445912"/>
                </a:moveTo>
                <a:cubicBezTo>
                  <a:pt x="11509991" y="6445912"/>
                  <a:pt x="11489963" y="6468637"/>
                  <a:pt x="11489963" y="6529780"/>
                </a:cubicBezTo>
                <a:cubicBezTo>
                  <a:pt x="11489963" y="6591214"/>
                  <a:pt x="11517695" y="6611495"/>
                  <a:pt x="11576752" y="6611495"/>
                </a:cubicBezTo>
                <a:cubicBezTo>
                  <a:pt x="11603130" y="6611495"/>
                  <a:pt x="11623417" y="6604891"/>
                  <a:pt x="11633068" y="6601597"/>
                </a:cubicBezTo>
                <a:cubicBezTo>
                  <a:pt x="11636076" y="6600529"/>
                  <a:pt x="11637187" y="6598311"/>
                  <a:pt x="11637187" y="6596410"/>
                </a:cubicBezTo>
                <a:cubicBezTo>
                  <a:pt x="11637187" y="6595851"/>
                  <a:pt x="11637187" y="6595317"/>
                  <a:pt x="11636936" y="6594200"/>
                </a:cubicBezTo>
                <a:lnTo>
                  <a:pt x="11632533" y="6576112"/>
                </a:lnTo>
                <a:lnTo>
                  <a:pt x="11632533" y="6576379"/>
                </a:lnTo>
                <a:cubicBezTo>
                  <a:pt x="11631438" y="6572543"/>
                  <a:pt x="11629767" y="6571726"/>
                  <a:pt x="11627570" y="6571726"/>
                </a:cubicBezTo>
                <a:cubicBezTo>
                  <a:pt x="11626442" y="6571726"/>
                  <a:pt x="11625071" y="6572026"/>
                  <a:pt x="11623994" y="6572284"/>
                </a:cubicBezTo>
                <a:lnTo>
                  <a:pt x="11624278" y="6572284"/>
                </a:lnTo>
                <a:cubicBezTo>
                  <a:pt x="11616549" y="6574478"/>
                  <a:pt x="11602303" y="6578580"/>
                  <a:pt x="11586085" y="6578580"/>
                </a:cubicBezTo>
                <a:cubicBezTo>
                  <a:pt x="11572632" y="6578580"/>
                  <a:pt x="11563266" y="6577488"/>
                  <a:pt x="11556398" y="6573886"/>
                </a:cubicBezTo>
                <a:cubicBezTo>
                  <a:pt x="11548460" y="6569808"/>
                  <a:pt x="11543505" y="6561585"/>
                  <a:pt x="11543505" y="6549260"/>
                </a:cubicBezTo>
                <a:lnTo>
                  <a:pt x="11636936" y="6549260"/>
                </a:lnTo>
                <a:cubicBezTo>
                  <a:pt x="11643220" y="6549260"/>
                  <a:pt x="11644331" y="6544865"/>
                  <a:pt x="11644331" y="6540754"/>
                </a:cubicBezTo>
                <a:lnTo>
                  <a:pt x="11644331" y="6526210"/>
                </a:lnTo>
                <a:cubicBezTo>
                  <a:pt x="11644331" y="6498800"/>
                  <a:pt x="11639643" y="6477710"/>
                  <a:pt x="11628397" y="6464525"/>
                </a:cubicBezTo>
                <a:cubicBezTo>
                  <a:pt x="11616549" y="6453034"/>
                  <a:pt x="11596805" y="6445912"/>
                  <a:pt x="11568246" y="6445912"/>
                </a:cubicBezTo>
                <a:close/>
                <a:moveTo>
                  <a:pt x="10560747" y="6445912"/>
                </a:moveTo>
                <a:cubicBezTo>
                  <a:pt x="10491547" y="6445912"/>
                  <a:pt x="10482214" y="6482096"/>
                  <a:pt x="10482214" y="6528988"/>
                </a:cubicBezTo>
                <a:cubicBezTo>
                  <a:pt x="10482214" y="6575563"/>
                  <a:pt x="10491547" y="6611496"/>
                  <a:pt x="10560747" y="6611496"/>
                </a:cubicBezTo>
                <a:cubicBezTo>
                  <a:pt x="10629998" y="6611496"/>
                  <a:pt x="10639314" y="6575571"/>
                  <a:pt x="10639314" y="6528988"/>
                </a:cubicBezTo>
                <a:cubicBezTo>
                  <a:pt x="10639314" y="6482096"/>
                  <a:pt x="10629998" y="6445912"/>
                  <a:pt x="10560747" y="6445912"/>
                </a:cubicBezTo>
                <a:close/>
                <a:moveTo>
                  <a:pt x="11283665" y="6445904"/>
                </a:moveTo>
                <a:cubicBezTo>
                  <a:pt x="11250736" y="6445912"/>
                  <a:pt x="11221300" y="6454669"/>
                  <a:pt x="11215576" y="6457112"/>
                </a:cubicBezTo>
                <a:cubicBezTo>
                  <a:pt x="11213654" y="6457988"/>
                  <a:pt x="11211716" y="6459047"/>
                  <a:pt x="11211716" y="6461240"/>
                </a:cubicBezTo>
                <a:lnTo>
                  <a:pt x="11211716" y="6462316"/>
                </a:lnTo>
                <a:cubicBezTo>
                  <a:pt x="11211716" y="6462583"/>
                  <a:pt x="11212000" y="6462875"/>
                  <a:pt x="11212000" y="6463158"/>
                </a:cubicBezTo>
                <a:lnTo>
                  <a:pt x="11217197" y="6485899"/>
                </a:lnTo>
                <a:cubicBezTo>
                  <a:pt x="11217481" y="6487534"/>
                  <a:pt x="11218567" y="6488109"/>
                  <a:pt x="11219979" y="6488109"/>
                </a:cubicBezTo>
                <a:cubicBezTo>
                  <a:pt x="11220523" y="6488109"/>
                  <a:pt x="11221300" y="6488109"/>
                  <a:pt x="11222177" y="6487826"/>
                </a:cubicBezTo>
                <a:cubicBezTo>
                  <a:pt x="11228761" y="6485907"/>
                  <a:pt x="11252925" y="6479620"/>
                  <a:pt x="11271884" y="6479620"/>
                </a:cubicBezTo>
                <a:cubicBezTo>
                  <a:pt x="11281217" y="6479620"/>
                  <a:pt x="11288361" y="6480429"/>
                  <a:pt x="11292171" y="6482330"/>
                </a:cubicBezTo>
                <a:cubicBezTo>
                  <a:pt x="11297978" y="6485107"/>
                  <a:pt x="11298788" y="6490027"/>
                  <a:pt x="11298788" y="6497974"/>
                </a:cubicBezTo>
                <a:lnTo>
                  <a:pt x="11298788" y="6504829"/>
                </a:lnTo>
                <a:lnTo>
                  <a:pt x="11246893" y="6513068"/>
                </a:lnTo>
                <a:cubicBezTo>
                  <a:pt x="11227132" y="6516054"/>
                  <a:pt x="11201564" y="6522100"/>
                  <a:pt x="11201564" y="6559626"/>
                </a:cubicBezTo>
                <a:cubicBezTo>
                  <a:pt x="11201564" y="6606284"/>
                  <a:pt x="11238896" y="6611488"/>
                  <a:pt x="11276245" y="6611488"/>
                </a:cubicBezTo>
                <a:cubicBezTo>
                  <a:pt x="11294134" y="6611488"/>
                  <a:pt x="11308430" y="6610379"/>
                  <a:pt x="11320462" y="6607661"/>
                </a:cubicBezTo>
                <a:cubicBezTo>
                  <a:pt x="11340257" y="6602982"/>
                  <a:pt x="11350467" y="6599138"/>
                  <a:pt x="11350467" y="6576096"/>
                </a:cubicBezTo>
                <a:lnTo>
                  <a:pt x="11350467" y="6493304"/>
                </a:lnTo>
                <a:cubicBezTo>
                  <a:pt x="11350467" y="6476309"/>
                  <a:pt x="11345203" y="6463150"/>
                  <a:pt x="11330639" y="6454936"/>
                </a:cubicBezTo>
                <a:cubicBezTo>
                  <a:pt x="11319953" y="6448906"/>
                  <a:pt x="11304863" y="6445904"/>
                  <a:pt x="11283665" y="6445904"/>
                </a:cubicBezTo>
                <a:close/>
                <a:moveTo>
                  <a:pt x="10734048" y="6380908"/>
                </a:moveTo>
                <a:cubicBezTo>
                  <a:pt x="10697568" y="6380908"/>
                  <a:pt x="10680815" y="6397370"/>
                  <a:pt x="10680815" y="6429993"/>
                </a:cubicBezTo>
                <a:lnTo>
                  <a:pt x="10680815" y="6449715"/>
                </a:lnTo>
                <a:lnTo>
                  <a:pt x="10657453" y="6449715"/>
                </a:lnTo>
                <a:cubicBezTo>
                  <a:pt x="10655256" y="6449715"/>
                  <a:pt x="10653593" y="6451350"/>
                  <a:pt x="10653593" y="6453560"/>
                </a:cubicBezTo>
                <a:lnTo>
                  <a:pt x="10653593" y="6481805"/>
                </a:lnTo>
                <a:cubicBezTo>
                  <a:pt x="10653593" y="6484015"/>
                  <a:pt x="10655264" y="6485658"/>
                  <a:pt x="10657453" y="6485658"/>
                </a:cubicBezTo>
                <a:lnTo>
                  <a:pt x="10680815" y="6485658"/>
                </a:lnTo>
                <a:lnTo>
                  <a:pt x="10680815" y="6603808"/>
                </a:lnTo>
                <a:cubicBezTo>
                  <a:pt x="10680815" y="6606001"/>
                  <a:pt x="10682453" y="6607661"/>
                  <a:pt x="10684650" y="6607661"/>
                </a:cubicBezTo>
                <a:lnTo>
                  <a:pt x="10729152" y="6607661"/>
                </a:lnTo>
                <a:cubicBezTo>
                  <a:pt x="10731333" y="6607661"/>
                  <a:pt x="10732987" y="6605993"/>
                  <a:pt x="10732987" y="6603808"/>
                </a:cubicBezTo>
                <a:lnTo>
                  <a:pt x="10732987" y="6485666"/>
                </a:lnTo>
                <a:lnTo>
                  <a:pt x="10803875" y="6485666"/>
                </a:lnTo>
                <a:lnTo>
                  <a:pt x="10803875" y="6559126"/>
                </a:lnTo>
                <a:cubicBezTo>
                  <a:pt x="10803875" y="6596686"/>
                  <a:pt x="10822825" y="6610112"/>
                  <a:pt x="10860191" y="6610112"/>
                </a:cubicBezTo>
                <a:cubicBezTo>
                  <a:pt x="10881289" y="6610112"/>
                  <a:pt x="10895334" y="6605718"/>
                  <a:pt x="10898610" y="6604608"/>
                </a:cubicBezTo>
                <a:cubicBezTo>
                  <a:pt x="10901618" y="6603516"/>
                  <a:pt x="10902746" y="6602148"/>
                  <a:pt x="10902746" y="6599688"/>
                </a:cubicBezTo>
                <a:cubicBezTo>
                  <a:pt x="10902746" y="6598596"/>
                  <a:pt x="10902495" y="6597228"/>
                  <a:pt x="10902495" y="6597228"/>
                </a:cubicBezTo>
                <a:lnTo>
                  <a:pt x="10898342" y="6575563"/>
                </a:lnTo>
                <a:cubicBezTo>
                  <a:pt x="10897799" y="6573086"/>
                  <a:pt x="10896705" y="6572277"/>
                  <a:pt x="10895050" y="6572277"/>
                </a:cubicBezTo>
                <a:cubicBezTo>
                  <a:pt x="10894800" y="6572277"/>
                  <a:pt x="10893939" y="6572277"/>
                  <a:pt x="10892869" y="6572527"/>
                </a:cubicBezTo>
                <a:cubicBezTo>
                  <a:pt x="10892585" y="6572527"/>
                  <a:pt x="10892026" y="6572811"/>
                  <a:pt x="10891482" y="6572811"/>
                </a:cubicBezTo>
                <a:cubicBezTo>
                  <a:pt x="10887890" y="6573353"/>
                  <a:pt x="10881565" y="6574162"/>
                  <a:pt x="10874170" y="6574162"/>
                </a:cubicBezTo>
                <a:cubicBezTo>
                  <a:pt x="10858219" y="6574162"/>
                  <a:pt x="10855487" y="6566782"/>
                  <a:pt x="10855487" y="6555799"/>
                </a:cubicBezTo>
                <a:lnTo>
                  <a:pt x="10855487" y="6485891"/>
                </a:lnTo>
                <a:lnTo>
                  <a:pt x="10933761" y="6485891"/>
                </a:lnTo>
                <a:lnTo>
                  <a:pt x="10933761" y="6588722"/>
                </a:lnTo>
                <a:cubicBezTo>
                  <a:pt x="10933761" y="6598829"/>
                  <a:pt x="10943111" y="6602132"/>
                  <a:pt x="10960139" y="6605985"/>
                </a:cubicBezTo>
                <a:cubicBezTo>
                  <a:pt x="10973308" y="6608711"/>
                  <a:pt x="10992525" y="6611730"/>
                  <a:pt x="11007123" y="6611730"/>
                </a:cubicBezTo>
                <a:cubicBezTo>
                  <a:pt x="11025229" y="6611730"/>
                  <a:pt x="11043904" y="6608428"/>
                  <a:pt x="11057673" y="6598004"/>
                </a:cubicBezTo>
                <a:cubicBezTo>
                  <a:pt x="11076273" y="6608720"/>
                  <a:pt x="11096936" y="6611730"/>
                  <a:pt x="11116396" y="6611730"/>
                </a:cubicBezTo>
                <a:cubicBezTo>
                  <a:pt x="11153202" y="6611730"/>
                  <a:pt x="11178218" y="6602974"/>
                  <a:pt x="11178218" y="6566215"/>
                </a:cubicBezTo>
                <a:lnTo>
                  <a:pt x="11178218" y="6453560"/>
                </a:lnTo>
                <a:cubicBezTo>
                  <a:pt x="11178218" y="6451350"/>
                  <a:pt x="11176564" y="6449715"/>
                  <a:pt x="11174400" y="6449715"/>
                </a:cubicBezTo>
                <a:lnTo>
                  <a:pt x="11130149" y="6449715"/>
                </a:lnTo>
                <a:cubicBezTo>
                  <a:pt x="11127968" y="6449715"/>
                  <a:pt x="11126297" y="6451350"/>
                  <a:pt x="11126297" y="6453560"/>
                </a:cubicBezTo>
                <a:lnTo>
                  <a:pt x="11126297" y="6558851"/>
                </a:lnTo>
                <a:cubicBezTo>
                  <a:pt x="11126297" y="6575021"/>
                  <a:pt x="11116387" y="6579941"/>
                  <a:pt x="11103796" y="6579941"/>
                </a:cubicBezTo>
                <a:cubicBezTo>
                  <a:pt x="11093903" y="6579941"/>
                  <a:pt x="11082063" y="6576897"/>
                  <a:pt x="11082063" y="6576897"/>
                </a:cubicBezTo>
                <a:lnTo>
                  <a:pt x="11082063" y="6453560"/>
                </a:lnTo>
                <a:cubicBezTo>
                  <a:pt x="11082063" y="6451350"/>
                  <a:pt x="11080425" y="6449715"/>
                  <a:pt x="11078228" y="6449715"/>
                </a:cubicBezTo>
                <a:lnTo>
                  <a:pt x="11034027" y="6449715"/>
                </a:lnTo>
                <a:cubicBezTo>
                  <a:pt x="11031846" y="6449715"/>
                  <a:pt x="11030175" y="6451350"/>
                  <a:pt x="11030175" y="6453560"/>
                </a:cubicBezTo>
                <a:lnTo>
                  <a:pt x="11030175" y="6558851"/>
                </a:lnTo>
                <a:cubicBezTo>
                  <a:pt x="11030175" y="6575021"/>
                  <a:pt x="11023574" y="6579941"/>
                  <a:pt x="11011492" y="6579941"/>
                </a:cubicBezTo>
                <a:cubicBezTo>
                  <a:pt x="11000756" y="6579941"/>
                  <a:pt x="10985674" y="6577197"/>
                  <a:pt x="10985674" y="6577197"/>
                </a:cubicBezTo>
                <a:lnTo>
                  <a:pt x="10985674" y="6453560"/>
                </a:lnTo>
                <a:cubicBezTo>
                  <a:pt x="10985674" y="6451350"/>
                  <a:pt x="10984003" y="6449715"/>
                  <a:pt x="10981855" y="6449715"/>
                </a:cubicBezTo>
                <a:lnTo>
                  <a:pt x="10855478" y="6449715"/>
                </a:lnTo>
                <a:lnTo>
                  <a:pt x="10855478" y="6400922"/>
                </a:lnTo>
                <a:cubicBezTo>
                  <a:pt x="10855478" y="6397370"/>
                  <a:pt x="10853573" y="6395735"/>
                  <a:pt x="10850532" y="6395735"/>
                </a:cubicBezTo>
                <a:cubicBezTo>
                  <a:pt x="10850022" y="6395735"/>
                  <a:pt x="10848627" y="6395986"/>
                  <a:pt x="10847257" y="6396277"/>
                </a:cubicBezTo>
                <a:lnTo>
                  <a:pt x="10809315" y="6402866"/>
                </a:lnTo>
                <a:cubicBezTo>
                  <a:pt x="10805755" y="6403674"/>
                  <a:pt x="10803858" y="6406151"/>
                  <a:pt x="10803858" y="6410529"/>
                </a:cubicBezTo>
                <a:lnTo>
                  <a:pt x="10803858" y="6449724"/>
                </a:lnTo>
                <a:lnTo>
                  <a:pt x="10732979" y="6449724"/>
                </a:lnTo>
                <a:lnTo>
                  <a:pt x="10732979" y="6432470"/>
                </a:lnTo>
                <a:cubicBezTo>
                  <a:pt x="10732979" y="6426741"/>
                  <a:pt x="10733823" y="6422888"/>
                  <a:pt x="10736822" y="6420119"/>
                </a:cubicBezTo>
                <a:cubicBezTo>
                  <a:pt x="10740164" y="6417376"/>
                  <a:pt x="10744234" y="6416583"/>
                  <a:pt x="10751403" y="6416583"/>
                </a:cubicBezTo>
                <a:cubicBezTo>
                  <a:pt x="10756048" y="6416583"/>
                  <a:pt x="10762916" y="6417376"/>
                  <a:pt x="10766493" y="6417934"/>
                </a:cubicBezTo>
                <a:cubicBezTo>
                  <a:pt x="10767036" y="6417934"/>
                  <a:pt x="10767604" y="6418201"/>
                  <a:pt x="10768415" y="6418201"/>
                </a:cubicBezTo>
                <a:cubicBezTo>
                  <a:pt x="10769801" y="6418468"/>
                  <a:pt x="10771448" y="6418760"/>
                  <a:pt x="10772233" y="6418760"/>
                </a:cubicBezTo>
                <a:cubicBezTo>
                  <a:pt x="10774205" y="6418760"/>
                  <a:pt x="10774764" y="6417376"/>
                  <a:pt x="10774982" y="6414916"/>
                </a:cubicBezTo>
                <a:lnTo>
                  <a:pt x="10778324" y="6392983"/>
                </a:lnTo>
                <a:cubicBezTo>
                  <a:pt x="10778324" y="6392983"/>
                  <a:pt x="10778575" y="6391332"/>
                  <a:pt x="10778575" y="6390524"/>
                </a:cubicBezTo>
                <a:cubicBezTo>
                  <a:pt x="10778575" y="6388347"/>
                  <a:pt x="10777764" y="6386954"/>
                  <a:pt x="10775550" y="6386128"/>
                </a:cubicBezTo>
                <a:cubicBezTo>
                  <a:pt x="10771690" y="6385053"/>
                  <a:pt x="10757444" y="6380908"/>
                  <a:pt x="10734048" y="6380908"/>
                </a:cubicBezTo>
                <a:close/>
                <a:moveTo>
                  <a:pt x="10182569" y="6345000"/>
                </a:moveTo>
                <a:cubicBezTo>
                  <a:pt x="10121591" y="6345000"/>
                  <a:pt x="10081200" y="6389974"/>
                  <a:pt x="10081200" y="6451084"/>
                </a:cubicBezTo>
                <a:lnTo>
                  <a:pt x="10081200" y="6508391"/>
                </a:lnTo>
                <a:lnTo>
                  <a:pt x="10144117" y="6508391"/>
                </a:lnTo>
                <a:lnTo>
                  <a:pt x="10144117" y="6455771"/>
                </a:lnTo>
                <a:cubicBezTo>
                  <a:pt x="10144117" y="6422889"/>
                  <a:pt x="10157870" y="6407244"/>
                  <a:pt x="10188627" y="6407244"/>
                </a:cubicBezTo>
                <a:lnTo>
                  <a:pt x="10210853" y="6407244"/>
                </a:lnTo>
                <a:lnTo>
                  <a:pt x="10217470" y="6345000"/>
                </a:lnTo>
                <a:close/>
                <a:moveTo>
                  <a:pt x="0" y="0"/>
                </a:moveTo>
                <a:lnTo>
                  <a:pt x="12192000" y="0"/>
                </a:lnTo>
                <a:lnTo>
                  <a:pt x="12192000" y="6857999"/>
                </a:lnTo>
                <a:lnTo>
                  <a:pt x="0" y="6857999"/>
                </a:lnTo>
                <a:close/>
              </a:path>
            </a:pathLst>
          </a:custGeom>
          <a:solidFill>
            <a:schemeClr val="bg2"/>
          </a:solidFill>
        </p:spPr>
        <p:txBody>
          <a:bodyPr wrap="square" bIns="2916000" anchor="ctr" anchorCtr="1">
            <a:noAutofit/>
          </a:bodyPr>
          <a:lstStyle>
            <a:lvl1pPr>
              <a:defRPr baseline="0">
                <a:latin typeface="+mn-lt"/>
                <a:cs typeface="+mn-cs"/>
              </a:defRPr>
            </a:lvl1pPr>
          </a:lstStyle>
          <a:p>
            <a:r>
              <a:rPr lang="en-US" dirty="0"/>
              <a:t>Click on area to add picture</a:t>
            </a:r>
          </a:p>
        </p:txBody>
      </p:sp>
      <p:sp>
        <p:nvSpPr>
          <p:cNvPr id="2" name="Title 1">
            <a:extLst>
              <a:ext uri="{FF2B5EF4-FFF2-40B4-BE49-F238E27FC236}">
                <a16:creationId xmlns:a16="http://schemas.microsoft.com/office/drawing/2014/main" id="{5543FD78-2E05-4215-BFE0-6760A59C339B}"/>
              </a:ext>
            </a:extLst>
          </p:cNvPr>
          <p:cNvSpPr>
            <a:spLocks noGrp="1"/>
          </p:cNvSpPr>
          <p:nvPr>
            <p:ph type="title"/>
          </p:nvPr>
        </p:nvSpPr>
        <p:spPr>
          <a:xfrm>
            <a:off x="537" y="2748600"/>
            <a:ext cx="7942263" cy="1916454"/>
          </a:xfrm>
          <a:solidFill>
            <a:schemeClr val="tx2"/>
          </a:solidFill>
        </p:spPr>
        <p:txBody>
          <a:bodyPr lIns="352800" tIns="874800" bIns="291600">
            <a:spAutoFit/>
          </a:bodyPr>
          <a:lstStyle>
            <a:lvl1pPr algn="l" defTabSz="972000" rtl="0" eaLnBrk="1" latinLnBrk="0" hangingPunct="1">
              <a:lnSpc>
                <a:spcPct val="100000"/>
              </a:lnSpc>
              <a:spcBef>
                <a:spcPct val="0"/>
              </a:spcBef>
              <a:buNone/>
              <a:defRPr lang="en-US" sz="4800" b="1" i="0" kern="1200" baseline="0" dirty="0">
                <a:solidFill>
                  <a:schemeClr val="bg1"/>
                </a:solidFill>
                <a:latin typeface="+mj-lt"/>
                <a:ea typeface="+mj-ea"/>
                <a:cs typeface="+mj-cs"/>
              </a:defRPr>
            </a:lvl1pPr>
          </a:lstStyle>
          <a:p>
            <a:r>
              <a:rPr lang="en-US"/>
              <a:t>Click to edit Master title style</a:t>
            </a:r>
            <a:endParaRPr lang="en-US" dirty="0"/>
          </a:p>
        </p:txBody>
      </p:sp>
      <p:sp>
        <p:nvSpPr>
          <p:cNvPr id="13" name="Text Placeholder 11">
            <a:extLst>
              <a:ext uri="{FF2B5EF4-FFF2-40B4-BE49-F238E27FC236}">
                <a16:creationId xmlns:a16="http://schemas.microsoft.com/office/drawing/2014/main" id="{82680172-3F37-4709-8853-23CBCE7DD992}"/>
              </a:ext>
            </a:extLst>
          </p:cNvPr>
          <p:cNvSpPr>
            <a:spLocks noGrp="1"/>
          </p:cNvSpPr>
          <p:nvPr>
            <p:ph type="body" sz="quarter" idx="11" hasCustomPrompt="1"/>
          </p:nvPr>
        </p:nvSpPr>
        <p:spPr>
          <a:xfrm>
            <a:off x="361200" y="2942637"/>
            <a:ext cx="1623075" cy="583563"/>
          </a:xfrm>
        </p:spPr>
        <p:txBody>
          <a:bodyPr wrap="none"/>
          <a:lstStyle>
            <a:lvl1pPr>
              <a:defRPr lang="en-US" sz="3200" b="0" kern="1200" baseline="0" dirty="0">
                <a:solidFill>
                  <a:srgbClr val="99A5B1"/>
                </a:solidFill>
                <a:latin typeface="+mn-lt"/>
                <a:ea typeface="+mn-ea"/>
                <a:cs typeface="+mn-cs"/>
              </a:defRPr>
            </a:lvl1pPr>
          </a:lstStyle>
          <a:p>
            <a:pPr marL="0" lvl="0" indent="0" algn="l" defTabSz="914377" rtl="0" eaLnBrk="1" latinLnBrk="0" hangingPunct="1">
              <a:lnSpc>
                <a:spcPct val="120000"/>
              </a:lnSpc>
              <a:spcBef>
                <a:spcPts val="300"/>
              </a:spcBef>
              <a:spcAft>
                <a:spcPts val="600"/>
              </a:spcAft>
              <a:buFontTx/>
              <a:buNone/>
            </a:pPr>
            <a:r>
              <a:rPr lang="en-US" dirty="0"/>
              <a:t>##</a:t>
            </a:r>
          </a:p>
        </p:txBody>
      </p:sp>
      <p:sp>
        <p:nvSpPr>
          <p:cNvPr id="9" name="MIO_AGENDA_IGNORE_NAVIGATION" hidden="1">
            <a:extLst>
              <a:ext uri="{FF2B5EF4-FFF2-40B4-BE49-F238E27FC236}">
                <a16:creationId xmlns:a16="http://schemas.microsoft.com/office/drawing/2014/main" id="{67C39D05-6ACC-4578-9863-604D4F04E651}"/>
              </a:ext>
            </a:extLst>
          </p:cNvPr>
          <p:cNvSpPr/>
          <p:nvPr userDrawn="1"/>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endParaRPr>
          </a:p>
        </p:txBody>
      </p:sp>
      <p:sp>
        <p:nvSpPr>
          <p:cNvPr id="10" name="MIO_AGENDA_IGNORE_CHAPTER_REFERENCE" hidden="1">
            <a:extLst>
              <a:ext uri="{FF2B5EF4-FFF2-40B4-BE49-F238E27FC236}">
                <a16:creationId xmlns:a16="http://schemas.microsoft.com/office/drawing/2014/main" id="{A2E01614-0846-47B5-BDA3-A1D145846EAD}"/>
              </a:ext>
            </a:extLst>
          </p:cNvPr>
          <p:cNvSpPr/>
          <p:nvPr userDrawn="1"/>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endParaRPr>
          </a:p>
        </p:txBody>
      </p:sp>
      <p:sp>
        <p:nvSpPr>
          <p:cNvPr id="11" name="Layout Support" hidden="1">
            <a:extLst>
              <a:ext uri="{FF2B5EF4-FFF2-40B4-BE49-F238E27FC236}">
                <a16:creationId xmlns:a16="http://schemas.microsoft.com/office/drawing/2014/main" id="{31D2B529-B650-4796-B7E6-B4C971ABA541}"/>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L11000</a:t>
            </a:r>
          </a:p>
        </p:txBody>
      </p:sp>
    </p:spTree>
    <p:extLst>
      <p:ext uri="{BB962C8B-B14F-4D97-AF65-F5344CB8AC3E}">
        <p14:creationId xmlns:p14="http://schemas.microsoft.com/office/powerpoint/2010/main" val="286622007"/>
      </p:ext>
    </p:extLst>
  </p:cSld>
  <p:clrMapOvr>
    <a:overrideClrMapping bg1="lt1" tx1="dk1" bg2="lt2" tx2="dk2" accent1="accent1" accent2="accent2" accent3="accent3" accent4="accent4" accent5="accent5" accent6="accent6" hlink="hlink" folHlink="folHlink"/>
  </p:clrMapOvr>
  <p:hf hdr="0" dt="0"/>
  <p:extLst>
    <p:ext uri="{DCECCB84-F9BA-43D5-87BE-67443E8EF086}">
      <p15:sldGuideLst xmlns:p15="http://schemas.microsoft.com/office/powerpoint/2012/main">
        <p15:guide id="1" orient="horz" pos="1731">
          <p15:clr>
            <a:srgbClr val="547EBF"/>
          </p15:clr>
        </p15:guide>
        <p15:guide id="2" pos="228" userDrawn="1">
          <p15:clr>
            <a:srgbClr val="547EBF"/>
          </p15:clr>
        </p15:guide>
        <p15:guide id="3" pos="5003">
          <p15:clr>
            <a:srgbClr val="547EBF"/>
          </p15:clr>
        </p15:guide>
        <p15:guide id="4" orient="horz" pos="2956" userDrawn="1">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Divider B with Pic&#10;- Dark -" preserve="1">
  <p:cSld name="Divider B with Pic - Dark -">
    <p:bg>
      <p:bgRef idx="1001">
        <a:schemeClr val="bg1"/>
      </p:bgRef>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5D1A3C9D-FA64-4BE2-BFA1-D8CED7A77A66}"/>
              </a:ext>
            </a:extLst>
          </p:cNvPr>
          <p:cNvSpPr/>
          <p:nvPr userDrawn="1"/>
        </p:nvSpPr>
        <p:spPr>
          <a:xfrm>
            <a:off x="9886800" y="6150600"/>
            <a:ext cx="2138400" cy="583200"/>
          </a:xfrm>
          <a:prstGeom prst="rect">
            <a:avLst/>
          </a:prstGeom>
          <a:solidFill>
            <a:schemeClr val="tx1"/>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3" name="Date Placeholder 2">
            <a:extLst>
              <a:ext uri="{FF2B5EF4-FFF2-40B4-BE49-F238E27FC236}">
                <a16:creationId xmlns:a16="http://schemas.microsoft.com/office/drawing/2014/main" id="{D43044E8-13F2-4213-8EB8-08C264974AA4}"/>
              </a:ext>
            </a:extLst>
          </p:cNvPr>
          <p:cNvSpPr>
            <a:spLocks noGrp="1"/>
          </p:cNvSpPr>
          <p:nvPr>
            <p:ph type="dt" sz="half" idx="2"/>
          </p:nvPr>
        </p:nvSpPr>
        <p:spPr/>
        <p:txBody>
          <a:bodyPr/>
          <a:lstStyle>
            <a:lvl1pPr>
              <a:defRPr baseline="0"/>
            </a:lvl1pPr>
          </a:lstStyle>
          <a:p>
            <a:fld id="{04A728B0-2EE8-4602-849F-D2D469FDAEE2}" type="datetime1">
              <a:rPr lang="en-US"/>
              <a:pPr/>
              <a:t>1/29/2022</a:t>
            </a:fld>
            <a:endParaRPr lang="en-US" dirty="0"/>
          </a:p>
        </p:txBody>
      </p:sp>
      <p:sp>
        <p:nvSpPr>
          <p:cNvPr id="4" name="Footer Placeholder 3">
            <a:extLst>
              <a:ext uri="{FF2B5EF4-FFF2-40B4-BE49-F238E27FC236}">
                <a16:creationId xmlns:a16="http://schemas.microsoft.com/office/drawing/2014/main" id="{B3F1E6AF-F442-43CB-962F-5DCC74EEABB9}"/>
              </a:ext>
            </a:extLst>
          </p:cNvPr>
          <p:cNvSpPr>
            <a:spLocks noGrp="1"/>
          </p:cNvSpPr>
          <p:nvPr>
            <p:ph type="ftr" sz="quarter" idx="3"/>
          </p:nvPr>
        </p:nvSpPr>
        <p:spPr/>
        <p:txBody>
          <a:bodyPr/>
          <a:lstStyle>
            <a:lvl1pPr>
              <a:defRPr baseline="0"/>
            </a:lvl1p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6D584CEB-01D3-4E61-8F56-AD27173459BE}"/>
              </a:ext>
            </a:extLst>
          </p:cNvPr>
          <p:cNvSpPr>
            <a:spLocks noGrp="1"/>
          </p:cNvSpPr>
          <p:nvPr>
            <p:ph type="sldNum" sz="quarter" idx="4"/>
          </p:nvPr>
        </p:nvSpPr>
        <p:spPr/>
        <p:txBody>
          <a:bodyPr/>
          <a:lstStyle>
            <a:lvl1pPr>
              <a:defRPr baseline="0"/>
            </a:lvl1pPr>
          </a:lstStyle>
          <a:p>
            <a:fld id="{22FF84AA-2C76-4AF1-8502-73D25D47F37C}" type="slidenum">
              <a:rPr lang="en-US"/>
              <a:pPr/>
              <a:t>‹#›</a:t>
            </a:fld>
            <a:endParaRPr lang="en-US" dirty="0"/>
          </a:p>
        </p:txBody>
      </p:sp>
      <p:sp>
        <p:nvSpPr>
          <p:cNvPr id="66" name="Picture Placeholder 31">
            <a:extLst>
              <a:ext uri="{FF2B5EF4-FFF2-40B4-BE49-F238E27FC236}">
                <a16:creationId xmlns:a16="http://schemas.microsoft.com/office/drawing/2014/main" id="{6FFE8322-D5E6-4B73-B5F3-E7AA4B608A1C}"/>
              </a:ext>
            </a:extLst>
          </p:cNvPr>
          <p:cNvSpPr>
            <a:spLocks noGrp="1"/>
          </p:cNvSpPr>
          <p:nvPr>
            <p:ph type="pic" sz="quarter" idx="31" hasCustomPrompt="1"/>
          </p:nvPr>
        </p:nvSpPr>
        <p:spPr>
          <a:xfrm>
            <a:off x="0" y="0"/>
            <a:ext cx="12192000" cy="6857999"/>
          </a:xfrm>
          <a:custGeom>
            <a:avLst/>
            <a:gdLst>
              <a:gd name="connsiteX0" fmla="*/ 11288053 w 12192000"/>
              <a:gd name="connsiteY0" fmla="*/ 6533358 h 6857999"/>
              <a:gd name="connsiteX1" fmla="*/ 11288053 w 12192000"/>
              <a:gd name="connsiteY1" fmla="*/ 6577748 h 6857999"/>
              <a:gd name="connsiteX2" fmla="*/ 11266363 w 12192000"/>
              <a:gd name="connsiteY2" fmla="*/ 6580508 h 6857999"/>
              <a:gd name="connsiteX3" fmla="*/ 11240561 w 12192000"/>
              <a:gd name="connsiteY3" fmla="*/ 6559126 h 6857999"/>
              <a:gd name="connsiteX4" fmla="*/ 11260848 w 12192000"/>
              <a:gd name="connsiteY4" fmla="*/ 6537753 h 6857999"/>
              <a:gd name="connsiteX5" fmla="*/ 10550012 w 12192000"/>
              <a:gd name="connsiteY5" fmla="*/ 6479619 h 6857999"/>
              <a:gd name="connsiteX6" fmla="*/ 10575614 w 12192000"/>
              <a:gd name="connsiteY6" fmla="*/ 6528988 h 6857999"/>
              <a:gd name="connsiteX7" fmla="*/ 10550012 w 12192000"/>
              <a:gd name="connsiteY7" fmla="*/ 6577739 h 6857999"/>
              <a:gd name="connsiteX8" fmla="*/ 10524511 w 12192000"/>
              <a:gd name="connsiteY8" fmla="*/ 6528988 h 6857999"/>
              <a:gd name="connsiteX9" fmla="*/ 10550012 w 12192000"/>
              <a:gd name="connsiteY9" fmla="*/ 6479619 h 6857999"/>
              <a:gd name="connsiteX10" fmla="*/ 11557502 w 12192000"/>
              <a:gd name="connsiteY10" fmla="*/ 6479077 h 6857999"/>
              <a:gd name="connsiteX11" fmla="*/ 11581926 w 12192000"/>
              <a:gd name="connsiteY11" fmla="*/ 6494421 h 6857999"/>
              <a:gd name="connsiteX12" fmla="*/ 11583597 w 12192000"/>
              <a:gd name="connsiteY12" fmla="*/ 6515511 h 6857999"/>
              <a:gd name="connsiteX13" fmla="*/ 11583597 w 12192000"/>
              <a:gd name="connsiteY13" fmla="*/ 6519889 h 6857999"/>
              <a:gd name="connsiteX14" fmla="*/ 11532252 w 12192000"/>
              <a:gd name="connsiteY14" fmla="*/ 6519889 h 6857999"/>
              <a:gd name="connsiteX15" fmla="*/ 11532252 w 12192000"/>
              <a:gd name="connsiteY15" fmla="*/ 6517179 h 6857999"/>
              <a:gd name="connsiteX16" fmla="*/ 11533622 w 12192000"/>
              <a:gd name="connsiteY16" fmla="*/ 6496340 h 6857999"/>
              <a:gd name="connsiteX17" fmla="*/ 11557502 w 12192000"/>
              <a:gd name="connsiteY17" fmla="*/ 6479077 h 6857999"/>
              <a:gd name="connsiteX18" fmla="*/ 11709921 w 12192000"/>
              <a:gd name="connsiteY18" fmla="*/ 6460415 h 6857999"/>
              <a:gd name="connsiteX19" fmla="*/ 11715151 w 12192000"/>
              <a:gd name="connsiteY19" fmla="*/ 6460415 h 6857999"/>
              <a:gd name="connsiteX20" fmla="*/ 11722847 w 12192000"/>
              <a:gd name="connsiteY20" fmla="*/ 6487000 h 6857999"/>
              <a:gd name="connsiteX21" fmla="*/ 11702242 w 12192000"/>
              <a:gd name="connsiteY21" fmla="*/ 6487000 h 6857999"/>
              <a:gd name="connsiteX22" fmla="*/ 11699510 w 12192000"/>
              <a:gd name="connsiteY22" fmla="*/ 6450024 h 6857999"/>
              <a:gd name="connsiteX23" fmla="*/ 11698432 w 12192000"/>
              <a:gd name="connsiteY23" fmla="*/ 6450850 h 6857999"/>
              <a:gd name="connsiteX24" fmla="*/ 11676582 w 12192000"/>
              <a:gd name="connsiteY24" fmla="*/ 6515787 h 6857999"/>
              <a:gd name="connsiteX25" fmla="*/ 11676298 w 12192000"/>
              <a:gd name="connsiteY25" fmla="*/ 6516896 h 6857999"/>
              <a:gd name="connsiteX26" fmla="*/ 11677092 w 12192000"/>
              <a:gd name="connsiteY26" fmla="*/ 6517455 h 6857999"/>
              <a:gd name="connsiteX27" fmla="*/ 11693151 w 12192000"/>
              <a:gd name="connsiteY27" fmla="*/ 6517455 h 6857999"/>
              <a:gd name="connsiteX28" fmla="*/ 11694279 w 12192000"/>
              <a:gd name="connsiteY28" fmla="*/ 6516329 h 6857999"/>
              <a:gd name="connsiteX29" fmla="*/ 11699242 w 12192000"/>
              <a:gd name="connsiteY29" fmla="*/ 6497716 h 6857999"/>
              <a:gd name="connsiteX30" fmla="*/ 11725846 w 12192000"/>
              <a:gd name="connsiteY30" fmla="*/ 6497716 h 6857999"/>
              <a:gd name="connsiteX31" fmla="*/ 11730793 w 12192000"/>
              <a:gd name="connsiteY31" fmla="*/ 6516329 h 6857999"/>
              <a:gd name="connsiteX32" fmla="*/ 11731921 w 12192000"/>
              <a:gd name="connsiteY32" fmla="*/ 6517455 h 6857999"/>
              <a:gd name="connsiteX33" fmla="*/ 11747028 w 12192000"/>
              <a:gd name="connsiteY33" fmla="*/ 6517455 h 6857999"/>
              <a:gd name="connsiteX34" fmla="*/ 11747838 w 12192000"/>
              <a:gd name="connsiteY34" fmla="*/ 6516896 h 6857999"/>
              <a:gd name="connsiteX35" fmla="*/ 11747537 w 12192000"/>
              <a:gd name="connsiteY35" fmla="*/ 6515787 h 6857999"/>
              <a:gd name="connsiteX36" fmla="*/ 11726707 w 12192000"/>
              <a:gd name="connsiteY36" fmla="*/ 6450850 h 6857999"/>
              <a:gd name="connsiteX37" fmla="*/ 11725579 w 12192000"/>
              <a:gd name="connsiteY37" fmla="*/ 6450024 h 6857999"/>
              <a:gd name="connsiteX38" fmla="*/ 10177332 w 12192000"/>
              <a:gd name="connsiteY38" fmla="*/ 6449732 h 6857999"/>
              <a:gd name="connsiteX39" fmla="*/ 10177332 w 12192000"/>
              <a:gd name="connsiteY39" fmla="*/ 6496048 h 6857999"/>
              <a:gd name="connsiteX40" fmla="*/ 10132839 w 12192000"/>
              <a:gd name="connsiteY40" fmla="*/ 6547343 h 6857999"/>
              <a:gd name="connsiteX41" fmla="*/ 10110061 w 12192000"/>
              <a:gd name="connsiteY41" fmla="*/ 6547343 h 6857999"/>
              <a:gd name="connsiteX42" fmla="*/ 10103444 w 12192000"/>
              <a:gd name="connsiteY42" fmla="*/ 6609537 h 6857999"/>
              <a:gd name="connsiteX43" fmla="*/ 10136139 w 12192000"/>
              <a:gd name="connsiteY43" fmla="*/ 6609537 h 6857999"/>
              <a:gd name="connsiteX44" fmla="*/ 10240224 w 12192000"/>
              <a:gd name="connsiteY44" fmla="*/ 6500735 h 6857999"/>
              <a:gd name="connsiteX45" fmla="*/ 10240224 w 12192000"/>
              <a:gd name="connsiteY45" fmla="*/ 6449732 h 6857999"/>
              <a:gd name="connsiteX46" fmla="*/ 11793411 w 12192000"/>
              <a:gd name="connsiteY46" fmla="*/ 6448589 h 6857999"/>
              <a:gd name="connsiteX47" fmla="*/ 11759087 w 12192000"/>
              <a:gd name="connsiteY47" fmla="*/ 6483747 h 6857999"/>
              <a:gd name="connsiteX48" fmla="*/ 11795074 w 12192000"/>
              <a:gd name="connsiteY48" fmla="*/ 6518563 h 6857999"/>
              <a:gd name="connsiteX49" fmla="*/ 11814300 w 12192000"/>
              <a:gd name="connsiteY49" fmla="*/ 6516645 h 6857999"/>
              <a:gd name="connsiteX50" fmla="*/ 11814057 w 12192000"/>
              <a:gd name="connsiteY50" fmla="*/ 6516645 h 6857999"/>
              <a:gd name="connsiteX51" fmla="*/ 11820065 w 12192000"/>
              <a:gd name="connsiteY51" fmla="*/ 6508698 h 6857999"/>
              <a:gd name="connsiteX52" fmla="*/ 11820065 w 12192000"/>
              <a:gd name="connsiteY52" fmla="*/ 6480678 h 6857999"/>
              <a:gd name="connsiteX53" fmla="*/ 11818995 w 12192000"/>
              <a:gd name="connsiteY53" fmla="*/ 6479619 h 6857999"/>
              <a:gd name="connsiteX54" fmla="*/ 11793411 w 12192000"/>
              <a:gd name="connsiteY54" fmla="*/ 6479619 h 6857999"/>
              <a:gd name="connsiteX55" fmla="*/ 11792333 w 12192000"/>
              <a:gd name="connsiteY55" fmla="*/ 6480678 h 6857999"/>
              <a:gd name="connsiteX56" fmla="*/ 11792333 w 12192000"/>
              <a:gd name="connsiteY56" fmla="*/ 6488917 h 6857999"/>
              <a:gd name="connsiteX57" fmla="*/ 11793411 w 12192000"/>
              <a:gd name="connsiteY57" fmla="*/ 6490310 h 6857999"/>
              <a:gd name="connsiteX58" fmla="*/ 11804399 w 12192000"/>
              <a:gd name="connsiteY58" fmla="*/ 6491403 h 6857999"/>
              <a:gd name="connsiteX59" fmla="*/ 11804399 w 12192000"/>
              <a:gd name="connsiteY59" fmla="*/ 6507572 h 6857999"/>
              <a:gd name="connsiteX60" fmla="*/ 11795592 w 12192000"/>
              <a:gd name="connsiteY60" fmla="*/ 6507856 h 6857999"/>
              <a:gd name="connsiteX61" fmla="*/ 11775840 w 12192000"/>
              <a:gd name="connsiteY61" fmla="*/ 6484273 h 6857999"/>
              <a:gd name="connsiteX62" fmla="*/ 11797514 w 12192000"/>
              <a:gd name="connsiteY62" fmla="*/ 6460147 h 6857999"/>
              <a:gd name="connsiteX63" fmla="*/ 11814049 w 12192000"/>
              <a:gd name="connsiteY63" fmla="*/ 6462049 h 6857999"/>
              <a:gd name="connsiteX64" fmla="*/ 11815403 w 12192000"/>
              <a:gd name="connsiteY64" fmla="*/ 6462299 h 6857999"/>
              <a:gd name="connsiteX65" fmla="*/ 11817600 w 12192000"/>
              <a:gd name="connsiteY65" fmla="*/ 6462566 h 6857999"/>
              <a:gd name="connsiteX66" fmla="*/ 11818995 w 12192000"/>
              <a:gd name="connsiteY66" fmla="*/ 6460689 h 6857999"/>
              <a:gd name="connsiteX67" fmla="*/ 11819773 w 12192000"/>
              <a:gd name="connsiteY67" fmla="*/ 6456278 h 6857999"/>
              <a:gd name="connsiteX68" fmla="*/ 11820057 w 12192000"/>
              <a:gd name="connsiteY68" fmla="*/ 6454101 h 6857999"/>
              <a:gd name="connsiteX69" fmla="*/ 11818661 w 12192000"/>
              <a:gd name="connsiteY69" fmla="*/ 6452434 h 6857999"/>
              <a:gd name="connsiteX70" fmla="*/ 11793411 w 12192000"/>
              <a:gd name="connsiteY70" fmla="*/ 6448589 h 6857999"/>
              <a:gd name="connsiteX71" fmla="*/ 11458063 w 12192000"/>
              <a:gd name="connsiteY71" fmla="*/ 6446454 h 6857999"/>
              <a:gd name="connsiteX72" fmla="*/ 11404253 w 12192000"/>
              <a:gd name="connsiteY72" fmla="*/ 6451917 h 6857999"/>
              <a:gd name="connsiteX73" fmla="*/ 11377315 w 12192000"/>
              <a:gd name="connsiteY73" fmla="*/ 6469487 h 6857999"/>
              <a:gd name="connsiteX74" fmla="*/ 11377315 w 12192000"/>
              <a:gd name="connsiteY74" fmla="*/ 6603823 h 6857999"/>
              <a:gd name="connsiteX75" fmla="*/ 11381184 w 12192000"/>
              <a:gd name="connsiteY75" fmla="*/ 6607676 h 6857999"/>
              <a:gd name="connsiteX76" fmla="*/ 11425351 w 12192000"/>
              <a:gd name="connsiteY76" fmla="*/ 6607676 h 6857999"/>
              <a:gd name="connsiteX77" fmla="*/ 11429228 w 12192000"/>
              <a:gd name="connsiteY77" fmla="*/ 6603823 h 6857999"/>
              <a:gd name="connsiteX78" fmla="*/ 11429228 w 12192000"/>
              <a:gd name="connsiteY78" fmla="*/ 6485899 h 6857999"/>
              <a:gd name="connsiteX79" fmla="*/ 11464112 w 12192000"/>
              <a:gd name="connsiteY79" fmla="*/ 6483455 h 6857999"/>
              <a:gd name="connsiteX80" fmla="*/ 11469610 w 12192000"/>
              <a:gd name="connsiteY80" fmla="*/ 6477109 h 6857999"/>
              <a:gd name="connsiteX81" fmla="*/ 11469610 w 12192000"/>
              <a:gd name="connsiteY81" fmla="*/ 6452750 h 6857999"/>
              <a:gd name="connsiteX82" fmla="*/ 11463268 w 12192000"/>
              <a:gd name="connsiteY82" fmla="*/ 6446454 h 6857999"/>
              <a:gd name="connsiteX83" fmla="*/ 10390455 w 12192000"/>
              <a:gd name="connsiteY83" fmla="*/ 6445921 h 6857999"/>
              <a:gd name="connsiteX84" fmla="*/ 10324288 w 12192000"/>
              <a:gd name="connsiteY84" fmla="*/ 6496039 h 6857999"/>
              <a:gd name="connsiteX85" fmla="*/ 10371781 w 12192000"/>
              <a:gd name="connsiteY85" fmla="*/ 6545666 h 6857999"/>
              <a:gd name="connsiteX86" fmla="*/ 10374814 w 12192000"/>
              <a:gd name="connsiteY86" fmla="*/ 6546191 h 6857999"/>
              <a:gd name="connsiteX87" fmla="*/ 10395418 w 12192000"/>
              <a:gd name="connsiteY87" fmla="*/ 6563203 h 6857999"/>
              <a:gd name="connsiteX88" fmla="*/ 10374237 w 12192000"/>
              <a:gd name="connsiteY88" fmla="*/ 6578581 h 6857999"/>
              <a:gd name="connsiteX89" fmla="*/ 10332769 w 12192000"/>
              <a:gd name="connsiteY89" fmla="*/ 6572285 h 6857999"/>
              <a:gd name="connsiteX90" fmla="*/ 10333036 w 12192000"/>
              <a:gd name="connsiteY90" fmla="*/ 6572285 h 6857999"/>
              <a:gd name="connsiteX91" fmla="*/ 10332226 w 12192000"/>
              <a:gd name="connsiteY91" fmla="*/ 6572034 h 6857999"/>
              <a:gd name="connsiteX92" fmla="*/ 10329201 w 12192000"/>
              <a:gd name="connsiteY92" fmla="*/ 6571459 h 6857999"/>
              <a:gd name="connsiteX93" fmla="*/ 10326151 w 12192000"/>
              <a:gd name="connsiteY93" fmla="*/ 6575304 h 6857999"/>
              <a:gd name="connsiteX94" fmla="*/ 10322893 w 12192000"/>
              <a:gd name="connsiteY94" fmla="*/ 6594759 h 6857999"/>
              <a:gd name="connsiteX95" fmla="*/ 10322333 w 12192000"/>
              <a:gd name="connsiteY95" fmla="*/ 6598854 h 6857999"/>
              <a:gd name="connsiteX96" fmla="*/ 10325341 w 12192000"/>
              <a:gd name="connsiteY96" fmla="*/ 6602698 h 6857999"/>
              <a:gd name="connsiteX97" fmla="*/ 10381673 w 12192000"/>
              <a:gd name="connsiteY97" fmla="*/ 6611237 h 6857999"/>
              <a:gd name="connsiteX98" fmla="*/ 10447832 w 12192000"/>
              <a:gd name="connsiteY98" fmla="*/ 6558867 h 6857999"/>
              <a:gd name="connsiteX99" fmla="*/ 10404200 w 12192000"/>
              <a:gd name="connsiteY99" fmla="*/ 6510324 h 6857999"/>
              <a:gd name="connsiteX100" fmla="*/ 10399746 w 12192000"/>
              <a:gd name="connsiteY100" fmla="*/ 6509516 h 6857999"/>
              <a:gd name="connsiteX101" fmla="*/ 10376694 w 12192000"/>
              <a:gd name="connsiteY101" fmla="*/ 6492487 h 6857999"/>
              <a:gd name="connsiteX102" fmla="*/ 10398702 w 12192000"/>
              <a:gd name="connsiteY102" fmla="*/ 6478285 h 6857999"/>
              <a:gd name="connsiteX103" fmla="*/ 10429467 w 12192000"/>
              <a:gd name="connsiteY103" fmla="*/ 6481821 h 6857999"/>
              <a:gd name="connsiteX104" fmla="*/ 10434939 w 12192000"/>
              <a:gd name="connsiteY104" fmla="*/ 6482663 h 6857999"/>
              <a:gd name="connsiteX105" fmla="*/ 10438791 w 12192000"/>
              <a:gd name="connsiteY105" fmla="*/ 6479903 h 6857999"/>
              <a:gd name="connsiteX106" fmla="*/ 10442643 w 12192000"/>
              <a:gd name="connsiteY106" fmla="*/ 6459872 h 6857999"/>
              <a:gd name="connsiteX107" fmla="*/ 10442911 w 12192000"/>
              <a:gd name="connsiteY107" fmla="*/ 6457696 h 6857999"/>
              <a:gd name="connsiteX108" fmla="*/ 10437154 w 12192000"/>
              <a:gd name="connsiteY108" fmla="*/ 6451916 h 6857999"/>
              <a:gd name="connsiteX109" fmla="*/ 10390455 w 12192000"/>
              <a:gd name="connsiteY109" fmla="*/ 6445921 h 6857999"/>
              <a:gd name="connsiteX110" fmla="*/ 11557511 w 12192000"/>
              <a:gd name="connsiteY110" fmla="*/ 6445912 h 6857999"/>
              <a:gd name="connsiteX111" fmla="*/ 11479228 w 12192000"/>
              <a:gd name="connsiteY111" fmla="*/ 6529780 h 6857999"/>
              <a:gd name="connsiteX112" fmla="*/ 11566017 w 12192000"/>
              <a:gd name="connsiteY112" fmla="*/ 6611495 h 6857999"/>
              <a:gd name="connsiteX113" fmla="*/ 11622333 w 12192000"/>
              <a:gd name="connsiteY113" fmla="*/ 6601597 h 6857999"/>
              <a:gd name="connsiteX114" fmla="*/ 11626452 w 12192000"/>
              <a:gd name="connsiteY114" fmla="*/ 6596410 h 6857999"/>
              <a:gd name="connsiteX115" fmla="*/ 11626201 w 12192000"/>
              <a:gd name="connsiteY115" fmla="*/ 6594200 h 6857999"/>
              <a:gd name="connsiteX116" fmla="*/ 11621798 w 12192000"/>
              <a:gd name="connsiteY116" fmla="*/ 6576112 h 6857999"/>
              <a:gd name="connsiteX117" fmla="*/ 11621798 w 12192000"/>
              <a:gd name="connsiteY117" fmla="*/ 6576379 h 6857999"/>
              <a:gd name="connsiteX118" fmla="*/ 11616835 w 12192000"/>
              <a:gd name="connsiteY118" fmla="*/ 6571726 h 6857999"/>
              <a:gd name="connsiteX119" fmla="*/ 11613259 w 12192000"/>
              <a:gd name="connsiteY119" fmla="*/ 6572284 h 6857999"/>
              <a:gd name="connsiteX120" fmla="*/ 11613543 w 12192000"/>
              <a:gd name="connsiteY120" fmla="*/ 6572284 h 6857999"/>
              <a:gd name="connsiteX121" fmla="*/ 11575350 w 12192000"/>
              <a:gd name="connsiteY121" fmla="*/ 6578580 h 6857999"/>
              <a:gd name="connsiteX122" fmla="*/ 11545663 w 12192000"/>
              <a:gd name="connsiteY122" fmla="*/ 6573886 h 6857999"/>
              <a:gd name="connsiteX123" fmla="*/ 11532770 w 12192000"/>
              <a:gd name="connsiteY123" fmla="*/ 6549260 h 6857999"/>
              <a:gd name="connsiteX124" fmla="*/ 11626201 w 12192000"/>
              <a:gd name="connsiteY124" fmla="*/ 6549260 h 6857999"/>
              <a:gd name="connsiteX125" fmla="*/ 11633596 w 12192000"/>
              <a:gd name="connsiteY125" fmla="*/ 6540754 h 6857999"/>
              <a:gd name="connsiteX126" fmla="*/ 11633596 w 12192000"/>
              <a:gd name="connsiteY126" fmla="*/ 6526210 h 6857999"/>
              <a:gd name="connsiteX127" fmla="*/ 11617662 w 12192000"/>
              <a:gd name="connsiteY127" fmla="*/ 6464525 h 6857999"/>
              <a:gd name="connsiteX128" fmla="*/ 11557511 w 12192000"/>
              <a:gd name="connsiteY128" fmla="*/ 6445912 h 6857999"/>
              <a:gd name="connsiteX129" fmla="*/ 10550012 w 12192000"/>
              <a:gd name="connsiteY129" fmla="*/ 6445912 h 6857999"/>
              <a:gd name="connsiteX130" fmla="*/ 10471479 w 12192000"/>
              <a:gd name="connsiteY130" fmla="*/ 6528988 h 6857999"/>
              <a:gd name="connsiteX131" fmla="*/ 10550012 w 12192000"/>
              <a:gd name="connsiteY131" fmla="*/ 6611496 h 6857999"/>
              <a:gd name="connsiteX132" fmla="*/ 10628579 w 12192000"/>
              <a:gd name="connsiteY132" fmla="*/ 6528988 h 6857999"/>
              <a:gd name="connsiteX133" fmla="*/ 10550012 w 12192000"/>
              <a:gd name="connsiteY133" fmla="*/ 6445912 h 6857999"/>
              <a:gd name="connsiteX134" fmla="*/ 11272930 w 12192000"/>
              <a:gd name="connsiteY134" fmla="*/ 6445904 h 6857999"/>
              <a:gd name="connsiteX135" fmla="*/ 11204841 w 12192000"/>
              <a:gd name="connsiteY135" fmla="*/ 6457112 h 6857999"/>
              <a:gd name="connsiteX136" fmla="*/ 11200981 w 12192000"/>
              <a:gd name="connsiteY136" fmla="*/ 6461240 h 6857999"/>
              <a:gd name="connsiteX137" fmla="*/ 11200981 w 12192000"/>
              <a:gd name="connsiteY137" fmla="*/ 6462316 h 6857999"/>
              <a:gd name="connsiteX138" fmla="*/ 11201265 w 12192000"/>
              <a:gd name="connsiteY138" fmla="*/ 6463158 h 6857999"/>
              <a:gd name="connsiteX139" fmla="*/ 11206462 w 12192000"/>
              <a:gd name="connsiteY139" fmla="*/ 6485899 h 6857999"/>
              <a:gd name="connsiteX140" fmla="*/ 11209244 w 12192000"/>
              <a:gd name="connsiteY140" fmla="*/ 6488109 h 6857999"/>
              <a:gd name="connsiteX141" fmla="*/ 11211442 w 12192000"/>
              <a:gd name="connsiteY141" fmla="*/ 6487826 h 6857999"/>
              <a:gd name="connsiteX142" fmla="*/ 11261149 w 12192000"/>
              <a:gd name="connsiteY142" fmla="*/ 6479620 h 6857999"/>
              <a:gd name="connsiteX143" fmla="*/ 11281436 w 12192000"/>
              <a:gd name="connsiteY143" fmla="*/ 6482330 h 6857999"/>
              <a:gd name="connsiteX144" fmla="*/ 11288053 w 12192000"/>
              <a:gd name="connsiteY144" fmla="*/ 6497974 h 6857999"/>
              <a:gd name="connsiteX145" fmla="*/ 11288053 w 12192000"/>
              <a:gd name="connsiteY145" fmla="*/ 6504829 h 6857999"/>
              <a:gd name="connsiteX146" fmla="*/ 11236158 w 12192000"/>
              <a:gd name="connsiteY146" fmla="*/ 6513068 h 6857999"/>
              <a:gd name="connsiteX147" fmla="*/ 11190829 w 12192000"/>
              <a:gd name="connsiteY147" fmla="*/ 6559626 h 6857999"/>
              <a:gd name="connsiteX148" fmla="*/ 11265510 w 12192000"/>
              <a:gd name="connsiteY148" fmla="*/ 6611488 h 6857999"/>
              <a:gd name="connsiteX149" fmla="*/ 11309727 w 12192000"/>
              <a:gd name="connsiteY149" fmla="*/ 6607661 h 6857999"/>
              <a:gd name="connsiteX150" fmla="*/ 11339732 w 12192000"/>
              <a:gd name="connsiteY150" fmla="*/ 6576096 h 6857999"/>
              <a:gd name="connsiteX151" fmla="*/ 11339732 w 12192000"/>
              <a:gd name="connsiteY151" fmla="*/ 6493304 h 6857999"/>
              <a:gd name="connsiteX152" fmla="*/ 11319904 w 12192000"/>
              <a:gd name="connsiteY152" fmla="*/ 6454936 h 6857999"/>
              <a:gd name="connsiteX153" fmla="*/ 11272930 w 12192000"/>
              <a:gd name="connsiteY153" fmla="*/ 6445904 h 6857999"/>
              <a:gd name="connsiteX154" fmla="*/ 10723313 w 12192000"/>
              <a:gd name="connsiteY154" fmla="*/ 6380908 h 6857999"/>
              <a:gd name="connsiteX155" fmla="*/ 10670080 w 12192000"/>
              <a:gd name="connsiteY155" fmla="*/ 6429993 h 6857999"/>
              <a:gd name="connsiteX156" fmla="*/ 10670080 w 12192000"/>
              <a:gd name="connsiteY156" fmla="*/ 6449715 h 6857999"/>
              <a:gd name="connsiteX157" fmla="*/ 10646718 w 12192000"/>
              <a:gd name="connsiteY157" fmla="*/ 6449715 h 6857999"/>
              <a:gd name="connsiteX158" fmla="*/ 10642858 w 12192000"/>
              <a:gd name="connsiteY158" fmla="*/ 6453560 h 6857999"/>
              <a:gd name="connsiteX159" fmla="*/ 10642858 w 12192000"/>
              <a:gd name="connsiteY159" fmla="*/ 6481805 h 6857999"/>
              <a:gd name="connsiteX160" fmla="*/ 10646718 w 12192000"/>
              <a:gd name="connsiteY160" fmla="*/ 6485658 h 6857999"/>
              <a:gd name="connsiteX161" fmla="*/ 10670080 w 12192000"/>
              <a:gd name="connsiteY161" fmla="*/ 6485658 h 6857999"/>
              <a:gd name="connsiteX162" fmla="*/ 10670080 w 12192000"/>
              <a:gd name="connsiteY162" fmla="*/ 6603808 h 6857999"/>
              <a:gd name="connsiteX163" fmla="*/ 10673915 w 12192000"/>
              <a:gd name="connsiteY163" fmla="*/ 6607661 h 6857999"/>
              <a:gd name="connsiteX164" fmla="*/ 10718417 w 12192000"/>
              <a:gd name="connsiteY164" fmla="*/ 6607661 h 6857999"/>
              <a:gd name="connsiteX165" fmla="*/ 10722252 w 12192000"/>
              <a:gd name="connsiteY165" fmla="*/ 6603808 h 6857999"/>
              <a:gd name="connsiteX166" fmla="*/ 10722252 w 12192000"/>
              <a:gd name="connsiteY166" fmla="*/ 6485666 h 6857999"/>
              <a:gd name="connsiteX167" fmla="*/ 10793140 w 12192000"/>
              <a:gd name="connsiteY167" fmla="*/ 6485666 h 6857999"/>
              <a:gd name="connsiteX168" fmla="*/ 10793140 w 12192000"/>
              <a:gd name="connsiteY168" fmla="*/ 6559126 h 6857999"/>
              <a:gd name="connsiteX169" fmla="*/ 10849456 w 12192000"/>
              <a:gd name="connsiteY169" fmla="*/ 6610112 h 6857999"/>
              <a:gd name="connsiteX170" fmla="*/ 10887875 w 12192000"/>
              <a:gd name="connsiteY170" fmla="*/ 6604608 h 6857999"/>
              <a:gd name="connsiteX171" fmla="*/ 10892011 w 12192000"/>
              <a:gd name="connsiteY171" fmla="*/ 6599688 h 6857999"/>
              <a:gd name="connsiteX172" fmla="*/ 10891760 w 12192000"/>
              <a:gd name="connsiteY172" fmla="*/ 6597228 h 6857999"/>
              <a:gd name="connsiteX173" fmla="*/ 10887607 w 12192000"/>
              <a:gd name="connsiteY173" fmla="*/ 6575563 h 6857999"/>
              <a:gd name="connsiteX174" fmla="*/ 10884315 w 12192000"/>
              <a:gd name="connsiteY174" fmla="*/ 6572277 h 6857999"/>
              <a:gd name="connsiteX175" fmla="*/ 10882134 w 12192000"/>
              <a:gd name="connsiteY175" fmla="*/ 6572527 h 6857999"/>
              <a:gd name="connsiteX176" fmla="*/ 10880747 w 12192000"/>
              <a:gd name="connsiteY176" fmla="*/ 6572811 h 6857999"/>
              <a:gd name="connsiteX177" fmla="*/ 10863435 w 12192000"/>
              <a:gd name="connsiteY177" fmla="*/ 6574162 h 6857999"/>
              <a:gd name="connsiteX178" fmla="*/ 10844752 w 12192000"/>
              <a:gd name="connsiteY178" fmla="*/ 6555799 h 6857999"/>
              <a:gd name="connsiteX179" fmla="*/ 10844752 w 12192000"/>
              <a:gd name="connsiteY179" fmla="*/ 6485891 h 6857999"/>
              <a:gd name="connsiteX180" fmla="*/ 10923026 w 12192000"/>
              <a:gd name="connsiteY180" fmla="*/ 6485891 h 6857999"/>
              <a:gd name="connsiteX181" fmla="*/ 10923026 w 12192000"/>
              <a:gd name="connsiteY181" fmla="*/ 6588722 h 6857999"/>
              <a:gd name="connsiteX182" fmla="*/ 10949404 w 12192000"/>
              <a:gd name="connsiteY182" fmla="*/ 6605985 h 6857999"/>
              <a:gd name="connsiteX183" fmla="*/ 10996388 w 12192000"/>
              <a:gd name="connsiteY183" fmla="*/ 6611730 h 6857999"/>
              <a:gd name="connsiteX184" fmla="*/ 11046938 w 12192000"/>
              <a:gd name="connsiteY184" fmla="*/ 6598004 h 6857999"/>
              <a:gd name="connsiteX185" fmla="*/ 11105661 w 12192000"/>
              <a:gd name="connsiteY185" fmla="*/ 6611730 h 6857999"/>
              <a:gd name="connsiteX186" fmla="*/ 11167483 w 12192000"/>
              <a:gd name="connsiteY186" fmla="*/ 6566215 h 6857999"/>
              <a:gd name="connsiteX187" fmla="*/ 11167483 w 12192000"/>
              <a:gd name="connsiteY187" fmla="*/ 6453560 h 6857999"/>
              <a:gd name="connsiteX188" fmla="*/ 11163665 w 12192000"/>
              <a:gd name="connsiteY188" fmla="*/ 6449715 h 6857999"/>
              <a:gd name="connsiteX189" fmla="*/ 11119414 w 12192000"/>
              <a:gd name="connsiteY189" fmla="*/ 6449715 h 6857999"/>
              <a:gd name="connsiteX190" fmla="*/ 11115562 w 12192000"/>
              <a:gd name="connsiteY190" fmla="*/ 6453560 h 6857999"/>
              <a:gd name="connsiteX191" fmla="*/ 11115562 w 12192000"/>
              <a:gd name="connsiteY191" fmla="*/ 6558851 h 6857999"/>
              <a:gd name="connsiteX192" fmla="*/ 11093061 w 12192000"/>
              <a:gd name="connsiteY192" fmla="*/ 6579941 h 6857999"/>
              <a:gd name="connsiteX193" fmla="*/ 11071328 w 12192000"/>
              <a:gd name="connsiteY193" fmla="*/ 6576897 h 6857999"/>
              <a:gd name="connsiteX194" fmla="*/ 11071328 w 12192000"/>
              <a:gd name="connsiteY194" fmla="*/ 6453560 h 6857999"/>
              <a:gd name="connsiteX195" fmla="*/ 11067493 w 12192000"/>
              <a:gd name="connsiteY195" fmla="*/ 6449715 h 6857999"/>
              <a:gd name="connsiteX196" fmla="*/ 11023292 w 12192000"/>
              <a:gd name="connsiteY196" fmla="*/ 6449715 h 6857999"/>
              <a:gd name="connsiteX197" fmla="*/ 11019440 w 12192000"/>
              <a:gd name="connsiteY197" fmla="*/ 6453560 h 6857999"/>
              <a:gd name="connsiteX198" fmla="*/ 11019440 w 12192000"/>
              <a:gd name="connsiteY198" fmla="*/ 6558851 h 6857999"/>
              <a:gd name="connsiteX199" fmla="*/ 11000757 w 12192000"/>
              <a:gd name="connsiteY199" fmla="*/ 6579941 h 6857999"/>
              <a:gd name="connsiteX200" fmla="*/ 10974939 w 12192000"/>
              <a:gd name="connsiteY200" fmla="*/ 6577197 h 6857999"/>
              <a:gd name="connsiteX201" fmla="*/ 10974939 w 12192000"/>
              <a:gd name="connsiteY201" fmla="*/ 6453560 h 6857999"/>
              <a:gd name="connsiteX202" fmla="*/ 10971120 w 12192000"/>
              <a:gd name="connsiteY202" fmla="*/ 6449715 h 6857999"/>
              <a:gd name="connsiteX203" fmla="*/ 10844743 w 12192000"/>
              <a:gd name="connsiteY203" fmla="*/ 6449715 h 6857999"/>
              <a:gd name="connsiteX204" fmla="*/ 10844743 w 12192000"/>
              <a:gd name="connsiteY204" fmla="*/ 6400922 h 6857999"/>
              <a:gd name="connsiteX205" fmla="*/ 10839797 w 12192000"/>
              <a:gd name="connsiteY205" fmla="*/ 6395735 h 6857999"/>
              <a:gd name="connsiteX206" fmla="*/ 10836522 w 12192000"/>
              <a:gd name="connsiteY206" fmla="*/ 6396277 h 6857999"/>
              <a:gd name="connsiteX207" fmla="*/ 10798580 w 12192000"/>
              <a:gd name="connsiteY207" fmla="*/ 6402866 h 6857999"/>
              <a:gd name="connsiteX208" fmla="*/ 10793123 w 12192000"/>
              <a:gd name="connsiteY208" fmla="*/ 6410529 h 6857999"/>
              <a:gd name="connsiteX209" fmla="*/ 10793123 w 12192000"/>
              <a:gd name="connsiteY209" fmla="*/ 6449724 h 6857999"/>
              <a:gd name="connsiteX210" fmla="*/ 10722244 w 12192000"/>
              <a:gd name="connsiteY210" fmla="*/ 6449724 h 6857999"/>
              <a:gd name="connsiteX211" fmla="*/ 10722244 w 12192000"/>
              <a:gd name="connsiteY211" fmla="*/ 6432470 h 6857999"/>
              <a:gd name="connsiteX212" fmla="*/ 10726087 w 12192000"/>
              <a:gd name="connsiteY212" fmla="*/ 6420119 h 6857999"/>
              <a:gd name="connsiteX213" fmla="*/ 10740668 w 12192000"/>
              <a:gd name="connsiteY213" fmla="*/ 6416583 h 6857999"/>
              <a:gd name="connsiteX214" fmla="*/ 10755758 w 12192000"/>
              <a:gd name="connsiteY214" fmla="*/ 6417934 h 6857999"/>
              <a:gd name="connsiteX215" fmla="*/ 10757680 w 12192000"/>
              <a:gd name="connsiteY215" fmla="*/ 6418201 h 6857999"/>
              <a:gd name="connsiteX216" fmla="*/ 10761498 w 12192000"/>
              <a:gd name="connsiteY216" fmla="*/ 6418760 h 6857999"/>
              <a:gd name="connsiteX217" fmla="*/ 10764247 w 12192000"/>
              <a:gd name="connsiteY217" fmla="*/ 6414916 h 6857999"/>
              <a:gd name="connsiteX218" fmla="*/ 10767589 w 12192000"/>
              <a:gd name="connsiteY218" fmla="*/ 6392983 h 6857999"/>
              <a:gd name="connsiteX219" fmla="*/ 10767840 w 12192000"/>
              <a:gd name="connsiteY219" fmla="*/ 6390524 h 6857999"/>
              <a:gd name="connsiteX220" fmla="*/ 10764815 w 12192000"/>
              <a:gd name="connsiteY220" fmla="*/ 6386128 h 6857999"/>
              <a:gd name="connsiteX221" fmla="*/ 10723313 w 12192000"/>
              <a:gd name="connsiteY221" fmla="*/ 6380908 h 6857999"/>
              <a:gd name="connsiteX222" fmla="*/ 10171834 w 12192000"/>
              <a:gd name="connsiteY222" fmla="*/ 6345000 h 6857999"/>
              <a:gd name="connsiteX223" fmla="*/ 10070465 w 12192000"/>
              <a:gd name="connsiteY223" fmla="*/ 6451084 h 6857999"/>
              <a:gd name="connsiteX224" fmla="*/ 10070465 w 12192000"/>
              <a:gd name="connsiteY224" fmla="*/ 6508391 h 6857999"/>
              <a:gd name="connsiteX225" fmla="*/ 10133382 w 12192000"/>
              <a:gd name="connsiteY225" fmla="*/ 6508391 h 6857999"/>
              <a:gd name="connsiteX226" fmla="*/ 10133382 w 12192000"/>
              <a:gd name="connsiteY226" fmla="*/ 6455771 h 6857999"/>
              <a:gd name="connsiteX227" fmla="*/ 10177892 w 12192000"/>
              <a:gd name="connsiteY227" fmla="*/ 6407244 h 6857999"/>
              <a:gd name="connsiteX228" fmla="*/ 10200118 w 12192000"/>
              <a:gd name="connsiteY228" fmla="*/ 6407244 h 6857999"/>
              <a:gd name="connsiteX229" fmla="*/ 10206735 w 12192000"/>
              <a:gd name="connsiteY229" fmla="*/ 6345000 h 6857999"/>
              <a:gd name="connsiteX230" fmla="*/ 0 w 12192000"/>
              <a:gd name="connsiteY230" fmla="*/ 0 h 6857999"/>
              <a:gd name="connsiteX231" fmla="*/ 12192000 w 12192000"/>
              <a:gd name="connsiteY231" fmla="*/ 0 h 6857999"/>
              <a:gd name="connsiteX232" fmla="*/ 12192000 w 12192000"/>
              <a:gd name="connsiteY232" fmla="*/ 6857999 h 6857999"/>
              <a:gd name="connsiteX233" fmla="*/ 0 w 12192000"/>
              <a:gd name="connsiteY233"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Lst>
            <a:rect l="l" t="t" r="r" b="b"/>
            <a:pathLst>
              <a:path w="12192000" h="6857999">
                <a:moveTo>
                  <a:pt x="11288053" y="6533358"/>
                </a:moveTo>
                <a:lnTo>
                  <a:pt x="11288053" y="6577748"/>
                </a:lnTo>
                <a:cubicBezTo>
                  <a:pt x="11286416" y="6578323"/>
                  <a:pt x="11277626" y="6580508"/>
                  <a:pt x="11266363" y="6580508"/>
                </a:cubicBezTo>
                <a:cubicBezTo>
                  <a:pt x="11255918" y="6580500"/>
                  <a:pt x="11240561" y="6578315"/>
                  <a:pt x="11240561" y="6559126"/>
                </a:cubicBezTo>
                <a:cubicBezTo>
                  <a:pt x="11240561" y="6541847"/>
                  <a:pt x="11249334" y="6539654"/>
                  <a:pt x="11260848" y="6537753"/>
                </a:cubicBezTo>
                <a:close/>
                <a:moveTo>
                  <a:pt x="10550012" y="6479619"/>
                </a:moveTo>
                <a:cubicBezTo>
                  <a:pt x="10574210" y="6479619"/>
                  <a:pt x="10575614" y="6493888"/>
                  <a:pt x="10575614" y="6528988"/>
                </a:cubicBezTo>
                <a:cubicBezTo>
                  <a:pt x="10575614" y="6563788"/>
                  <a:pt x="10574218" y="6577739"/>
                  <a:pt x="10550012" y="6577739"/>
                </a:cubicBezTo>
                <a:cubicBezTo>
                  <a:pt x="10525873" y="6577739"/>
                  <a:pt x="10524511" y="6563788"/>
                  <a:pt x="10524511" y="6528988"/>
                </a:cubicBezTo>
                <a:cubicBezTo>
                  <a:pt x="10524511" y="6493888"/>
                  <a:pt x="10525882" y="6479619"/>
                  <a:pt x="10550012" y="6479619"/>
                </a:cubicBezTo>
                <a:close/>
                <a:moveTo>
                  <a:pt x="11557502" y="6479077"/>
                </a:moveTo>
                <a:cubicBezTo>
                  <a:pt x="11572334" y="6479077"/>
                  <a:pt x="11579193" y="6484823"/>
                  <a:pt x="11581926" y="6494421"/>
                </a:cubicBezTo>
                <a:cubicBezTo>
                  <a:pt x="11583597" y="6500184"/>
                  <a:pt x="11583597" y="6509499"/>
                  <a:pt x="11583597" y="6515511"/>
                </a:cubicBezTo>
                <a:lnTo>
                  <a:pt x="11583597" y="6519889"/>
                </a:lnTo>
                <a:lnTo>
                  <a:pt x="11532252" y="6519889"/>
                </a:lnTo>
                <a:lnTo>
                  <a:pt x="11532252" y="6517179"/>
                </a:lnTo>
                <a:cubicBezTo>
                  <a:pt x="11532252" y="6512801"/>
                  <a:pt x="11532494" y="6502627"/>
                  <a:pt x="11533622" y="6496340"/>
                </a:cubicBezTo>
                <a:cubicBezTo>
                  <a:pt x="11535770" y="6485899"/>
                  <a:pt x="11541577" y="6479077"/>
                  <a:pt x="11557502" y="6479077"/>
                </a:cubicBezTo>
                <a:close/>
                <a:moveTo>
                  <a:pt x="11709921" y="6460415"/>
                </a:moveTo>
                <a:lnTo>
                  <a:pt x="11715151" y="6460415"/>
                </a:lnTo>
                <a:lnTo>
                  <a:pt x="11722847" y="6487000"/>
                </a:lnTo>
                <a:lnTo>
                  <a:pt x="11702242" y="6487000"/>
                </a:lnTo>
                <a:close/>
                <a:moveTo>
                  <a:pt x="11699510" y="6450024"/>
                </a:moveTo>
                <a:cubicBezTo>
                  <a:pt x="11698933" y="6450024"/>
                  <a:pt x="11698682" y="6450533"/>
                  <a:pt x="11698432" y="6450850"/>
                </a:cubicBezTo>
                <a:lnTo>
                  <a:pt x="11676582" y="6515787"/>
                </a:lnTo>
                <a:cubicBezTo>
                  <a:pt x="11676582" y="6515787"/>
                  <a:pt x="11676298" y="6516646"/>
                  <a:pt x="11676298" y="6516896"/>
                </a:cubicBezTo>
                <a:cubicBezTo>
                  <a:pt x="11676298" y="6517180"/>
                  <a:pt x="11676582" y="6517455"/>
                  <a:pt x="11677092" y="6517455"/>
                </a:cubicBezTo>
                <a:lnTo>
                  <a:pt x="11693151" y="6517455"/>
                </a:lnTo>
                <a:cubicBezTo>
                  <a:pt x="11693753" y="6517455"/>
                  <a:pt x="11694012" y="6516896"/>
                  <a:pt x="11694279" y="6516329"/>
                </a:cubicBezTo>
                <a:lnTo>
                  <a:pt x="11699242" y="6497716"/>
                </a:lnTo>
                <a:lnTo>
                  <a:pt x="11725846" y="6497716"/>
                </a:lnTo>
                <a:lnTo>
                  <a:pt x="11730793" y="6516329"/>
                </a:lnTo>
                <a:cubicBezTo>
                  <a:pt x="11731044" y="6516905"/>
                  <a:pt x="11731378" y="6517455"/>
                  <a:pt x="11731921" y="6517455"/>
                </a:cubicBezTo>
                <a:lnTo>
                  <a:pt x="11747028" y="6517455"/>
                </a:lnTo>
                <a:cubicBezTo>
                  <a:pt x="11747537" y="6517455"/>
                  <a:pt x="11747838" y="6517188"/>
                  <a:pt x="11747838" y="6516896"/>
                </a:cubicBezTo>
                <a:cubicBezTo>
                  <a:pt x="11747838" y="6516646"/>
                  <a:pt x="11747537" y="6515787"/>
                  <a:pt x="11747537" y="6515787"/>
                </a:cubicBezTo>
                <a:lnTo>
                  <a:pt x="11726707" y="6450850"/>
                </a:lnTo>
                <a:cubicBezTo>
                  <a:pt x="11726423" y="6450533"/>
                  <a:pt x="11725846" y="6450024"/>
                  <a:pt x="11725579" y="6450024"/>
                </a:cubicBezTo>
                <a:close/>
                <a:moveTo>
                  <a:pt x="10177332" y="6449732"/>
                </a:moveTo>
                <a:lnTo>
                  <a:pt x="10177332" y="6496048"/>
                </a:lnTo>
                <a:cubicBezTo>
                  <a:pt x="10177332" y="6528438"/>
                  <a:pt x="10164163" y="6547343"/>
                  <a:pt x="10132839" y="6547343"/>
                </a:cubicBezTo>
                <a:lnTo>
                  <a:pt x="10110061" y="6547343"/>
                </a:lnTo>
                <a:lnTo>
                  <a:pt x="10103444" y="6609537"/>
                </a:lnTo>
                <a:lnTo>
                  <a:pt x="10136139" y="6609537"/>
                </a:lnTo>
                <a:cubicBezTo>
                  <a:pt x="10194369" y="6609537"/>
                  <a:pt x="10240224" y="6567341"/>
                  <a:pt x="10240224" y="6500735"/>
                </a:cubicBezTo>
                <a:lnTo>
                  <a:pt x="10240224" y="6449732"/>
                </a:lnTo>
                <a:close/>
                <a:moveTo>
                  <a:pt x="11793411" y="6448589"/>
                </a:moveTo>
                <a:cubicBezTo>
                  <a:pt x="11769264" y="6448623"/>
                  <a:pt x="11759087" y="6457988"/>
                  <a:pt x="11759087" y="6483747"/>
                </a:cubicBezTo>
                <a:cubicBezTo>
                  <a:pt x="11759087" y="6508931"/>
                  <a:pt x="11767325" y="6518563"/>
                  <a:pt x="11795074" y="6518563"/>
                </a:cubicBezTo>
                <a:cubicBezTo>
                  <a:pt x="11801942" y="6518563"/>
                  <a:pt x="11810181" y="6517454"/>
                  <a:pt x="11814300" y="6516645"/>
                </a:cubicBezTo>
                <a:lnTo>
                  <a:pt x="11814057" y="6516645"/>
                </a:lnTo>
                <a:cubicBezTo>
                  <a:pt x="11819004" y="6515294"/>
                  <a:pt x="11820065" y="6513343"/>
                  <a:pt x="11820065" y="6508698"/>
                </a:cubicBezTo>
                <a:lnTo>
                  <a:pt x="11820065" y="6480678"/>
                </a:lnTo>
                <a:cubicBezTo>
                  <a:pt x="11820065" y="6479886"/>
                  <a:pt x="11819781" y="6479619"/>
                  <a:pt x="11818995" y="6479619"/>
                </a:cubicBezTo>
                <a:lnTo>
                  <a:pt x="11793411" y="6479619"/>
                </a:lnTo>
                <a:cubicBezTo>
                  <a:pt x="11792567" y="6479619"/>
                  <a:pt x="11792333" y="6479886"/>
                  <a:pt x="11792333" y="6480678"/>
                </a:cubicBezTo>
                <a:lnTo>
                  <a:pt x="11792333" y="6488917"/>
                </a:lnTo>
                <a:cubicBezTo>
                  <a:pt x="11792333" y="6490026"/>
                  <a:pt x="11793144" y="6490310"/>
                  <a:pt x="11793411" y="6490310"/>
                </a:cubicBezTo>
                <a:lnTo>
                  <a:pt x="11804399" y="6491403"/>
                </a:lnTo>
                <a:lnTo>
                  <a:pt x="11804399" y="6507572"/>
                </a:lnTo>
                <a:cubicBezTo>
                  <a:pt x="11804399" y="6507572"/>
                  <a:pt x="11799728" y="6507856"/>
                  <a:pt x="11795592" y="6507856"/>
                </a:cubicBezTo>
                <a:cubicBezTo>
                  <a:pt x="11782716" y="6507856"/>
                  <a:pt x="11775840" y="6504270"/>
                  <a:pt x="11775840" y="6484273"/>
                </a:cubicBezTo>
                <a:cubicBezTo>
                  <a:pt x="11775840" y="6463466"/>
                  <a:pt x="11783251" y="6460147"/>
                  <a:pt x="11797514" y="6460147"/>
                </a:cubicBezTo>
                <a:cubicBezTo>
                  <a:pt x="11803588" y="6460147"/>
                  <a:pt x="11809896" y="6461223"/>
                  <a:pt x="11814049" y="6462049"/>
                </a:cubicBezTo>
                <a:cubicBezTo>
                  <a:pt x="11814283" y="6462299"/>
                  <a:pt x="11814860" y="6462299"/>
                  <a:pt x="11815403" y="6462299"/>
                </a:cubicBezTo>
                <a:cubicBezTo>
                  <a:pt x="11815403" y="6462299"/>
                  <a:pt x="11816773" y="6462566"/>
                  <a:pt x="11817600" y="6462566"/>
                </a:cubicBezTo>
                <a:cubicBezTo>
                  <a:pt x="11818427" y="6462566"/>
                  <a:pt x="11818669" y="6462040"/>
                  <a:pt x="11818995" y="6460689"/>
                </a:cubicBezTo>
                <a:lnTo>
                  <a:pt x="11819773" y="6456278"/>
                </a:lnTo>
                <a:cubicBezTo>
                  <a:pt x="11820057" y="6455469"/>
                  <a:pt x="11820057" y="6454360"/>
                  <a:pt x="11820057" y="6454101"/>
                </a:cubicBezTo>
                <a:cubicBezTo>
                  <a:pt x="11820057" y="6453276"/>
                  <a:pt x="11819246" y="6453009"/>
                  <a:pt x="11818661" y="6452434"/>
                </a:cubicBezTo>
                <a:cubicBezTo>
                  <a:pt x="11816480" y="6451625"/>
                  <a:pt x="11806880" y="6448589"/>
                  <a:pt x="11793411" y="6448589"/>
                </a:cubicBezTo>
                <a:close/>
                <a:moveTo>
                  <a:pt x="11458063" y="6446454"/>
                </a:moveTo>
                <a:cubicBezTo>
                  <a:pt x="11439096" y="6446454"/>
                  <a:pt x="11418809" y="6448631"/>
                  <a:pt x="11404253" y="6451917"/>
                </a:cubicBezTo>
                <a:cubicBezTo>
                  <a:pt x="11386631" y="6455769"/>
                  <a:pt x="11377315" y="6459055"/>
                  <a:pt x="11377315" y="6469487"/>
                </a:cubicBezTo>
                <a:lnTo>
                  <a:pt x="11377315" y="6603823"/>
                </a:lnTo>
                <a:cubicBezTo>
                  <a:pt x="11377315" y="6606017"/>
                  <a:pt x="11378969" y="6607676"/>
                  <a:pt x="11381184" y="6607676"/>
                </a:cubicBezTo>
                <a:lnTo>
                  <a:pt x="11425351" y="6607676"/>
                </a:lnTo>
                <a:cubicBezTo>
                  <a:pt x="11427565" y="6607676"/>
                  <a:pt x="11429228" y="6606008"/>
                  <a:pt x="11429228" y="6603823"/>
                </a:cubicBezTo>
                <a:lnTo>
                  <a:pt x="11429228" y="6485899"/>
                </a:lnTo>
                <a:cubicBezTo>
                  <a:pt x="11431977" y="6485340"/>
                  <a:pt x="11446524" y="6483455"/>
                  <a:pt x="11464112" y="6483455"/>
                </a:cubicBezTo>
                <a:cubicBezTo>
                  <a:pt x="11469610" y="6483455"/>
                  <a:pt x="11469610" y="6480428"/>
                  <a:pt x="11469610" y="6477109"/>
                </a:cubicBezTo>
                <a:lnTo>
                  <a:pt x="11469610" y="6452750"/>
                </a:lnTo>
                <a:cubicBezTo>
                  <a:pt x="11469610" y="6448055"/>
                  <a:pt x="11467404" y="6446454"/>
                  <a:pt x="11463268" y="6446454"/>
                </a:cubicBezTo>
                <a:close/>
                <a:moveTo>
                  <a:pt x="10390455" y="6445921"/>
                </a:moveTo>
                <a:cubicBezTo>
                  <a:pt x="10364119" y="6445912"/>
                  <a:pt x="10324288" y="6450273"/>
                  <a:pt x="10324288" y="6496039"/>
                </a:cubicBezTo>
                <a:cubicBezTo>
                  <a:pt x="10324288" y="6536076"/>
                  <a:pt x="10351176" y="6541838"/>
                  <a:pt x="10371781" y="6545666"/>
                </a:cubicBezTo>
                <a:lnTo>
                  <a:pt x="10374814" y="6546191"/>
                </a:lnTo>
                <a:cubicBezTo>
                  <a:pt x="10389076" y="6548985"/>
                  <a:pt x="10395418" y="6550603"/>
                  <a:pt x="10395418" y="6563203"/>
                </a:cubicBezTo>
                <a:cubicBezTo>
                  <a:pt x="10395418" y="6575562"/>
                  <a:pt x="10384414" y="6578581"/>
                  <a:pt x="10374237" y="6578581"/>
                </a:cubicBezTo>
                <a:cubicBezTo>
                  <a:pt x="10358604" y="6578581"/>
                  <a:pt x="10339921" y="6574169"/>
                  <a:pt x="10332769" y="6572285"/>
                </a:cubicBezTo>
                <a:lnTo>
                  <a:pt x="10333036" y="6572285"/>
                </a:lnTo>
                <a:cubicBezTo>
                  <a:pt x="10332769" y="6572285"/>
                  <a:pt x="10332476" y="6572034"/>
                  <a:pt x="10332226" y="6572034"/>
                </a:cubicBezTo>
                <a:cubicBezTo>
                  <a:pt x="10331131" y="6571734"/>
                  <a:pt x="10330028" y="6571459"/>
                  <a:pt x="10329201" y="6571459"/>
                </a:cubicBezTo>
                <a:cubicBezTo>
                  <a:pt x="10327848" y="6571459"/>
                  <a:pt x="10326452" y="6572535"/>
                  <a:pt x="10326151" y="6575304"/>
                </a:cubicBezTo>
                <a:lnTo>
                  <a:pt x="10322893" y="6594759"/>
                </a:lnTo>
                <a:cubicBezTo>
                  <a:pt x="10322609" y="6596143"/>
                  <a:pt x="10322333" y="6598028"/>
                  <a:pt x="10322333" y="6598854"/>
                </a:cubicBezTo>
                <a:cubicBezTo>
                  <a:pt x="10322333" y="6600772"/>
                  <a:pt x="10323143" y="6601597"/>
                  <a:pt x="10325341" y="6602698"/>
                </a:cubicBezTo>
                <a:cubicBezTo>
                  <a:pt x="10331415" y="6605208"/>
                  <a:pt x="10356106" y="6611237"/>
                  <a:pt x="10381673" y="6611237"/>
                </a:cubicBezTo>
                <a:cubicBezTo>
                  <a:pt x="10419298" y="6611237"/>
                  <a:pt x="10447832" y="6598036"/>
                  <a:pt x="10447832" y="6558867"/>
                </a:cubicBezTo>
                <a:cubicBezTo>
                  <a:pt x="10447832" y="6521307"/>
                  <a:pt x="10425606" y="6514177"/>
                  <a:pt x="10404200" y="6510324"/>
                </a:cubicBezTo>
                <a:lnTo>
                  <a:pt x="10399746" y="6509516"/>
                </a:lnTo>
                <a:cubicBezTo>
                  <a:pt x="10387439" y="6507322"/>
                  <a:pt x="10376694" y="6505121"/>
                  <a:pt x="10376694" y="6492487"/>
                </a:cubicBezTo>
                <a:cubicBezTo>
                  <a:pt x="10376694" y="6479903"/>
                  <a:pt x="10389620" y="6478285"/>
                  <a:pt x="10398702" y="6478285"/>
                </a:cubicBezTo>
                <a:cubicBezTo>
                  <a:pt x="10410500" y="6478285"/>
                  <a:pt x="10423125" y="6480445"/>
                  <a:pt x="10429467" y="6481821"/>
                </a:cubicBezTo>
                <a:cubicBezTo>
                  <a:pt x="10433010" y="6482663"/>
                  <a:pt x="10433853" y="6482663"/>
                  <a:pt x="10434939" y="6482663"/>
                </a:cubicBezTo>
                <a:cubicBezTo>
                  <a:pt x="10436335" y="6482663"/>
                  <a:pt x="10438215" y="6481270"/>
                  <a:pt x="10438791" y="6479903"/>
                </a:cubicBezTo>
                <a:cubicBezTo>
                  <a:pt x="10439903" y="6473315"/>
                  <a:pt x="10441557" y="6466493"/>
                  <a:pt x="10442643" y="6459872"/>
                </a:cubicBezTo>
                <a:cubicBezTo>
                  <a:pt x="10442643" y="6459872"/>
                  <a:pt x="10442911" y="6458504"/>
                  <a:pt x="10442911" y="6457696"/>
                </a:cubicBezTo>
                <a:cubicBezTo>
                  <a:pt x="10442911" y="6454393"/>
                  <a:pt x="10441557" y="6453042"/>
                  <a:pt x="10437154" y="6451916"/>
                </a:cubicBezTo>
                <a:cubicBezTo>
                  <a:pt x="10428631" y="6449723"/>
                  <a:pt x="10411620" y="6445921"/>
                  <a:pt x="10390455" y="6445921"/>
                </a:cubicBezTo>
                <a:close/>
                <a:moveTo>
                  <a:pt x="11557511" y="6445912"/>
                </a:moveTo>
                <a:cubicBezTo>
                  <a:pt x="11499256" y="6445912"/>
                  <a:pt x="11479228" y="6468637"/>
                  <a:pt x="11479228" y="6529780"/>
                </a:cubicBezTo>
                <a:cubicBezTo>
                  <a:pt x="11479228" y="6591214"/>
                  <a:pt x="11506960" y="6611495"/>
                  <a:pt x="11566017" y="6611495"/>
                </a:cubicBezTo>
                <a:cubicBezTo>
                  <a:pt x="11592395" y="6611495"/>
                  <a:pt x="11612682" y="6604891"/>
                  <a:pt x="11622333" y="6601597"/>
                </a:cubicBezTo>
                <a:cubicBezTo>
                  <a:pt x="11625341" y="6600529"/>
                  <a:pt x="11626452" y="6598311"/>
                  <a:pt x="11626452" y="6596410"/>
                </a:cubicBezTo>
                <a:cubicBezTo>
                  <a:pt x="11626452" y="6595851"/>
                  <a:pt x="11626452" y="6595317"/>
                  <a:pt x="11626201" y="6594200"/>
                </a:cubicBezTo>
                <a:lnTo>
                  <a:pt x="11621798" y="6576112"/>
                </a:lnTo>
                <a:lnTo>
                  <a:pt x="11621798" y="6576379"/>
                </a:lnTo>
                <a:cubicBezTo>
                  <a:pt x="11620703" y="6572543"/>
                  <a:pt x="11619032" y="6571726"/>
                  <a:pt x="11616835" y="6571726"/>
                </a:cubicBezTo>
                <a:cubicBezTo>
                  <a:pt x="11615707" y="6571726"/>
                  <a:pt x="11614336" y="6572026"/>
                  <a:pt x="11613259" y="6572284"/>
                </a:cubicBezTo>
                <a:lnTo>
                  <a:pt x="11613543" y="6572284"/>
                </a:lnTo>
                <a:cubicBezTo>
                  <a:pt x="11605814" y="6574478"/>
                  <a:pt x="11591568" y="6578580"/>
                  <a:pt x="11575350" y="6578580"/>
                </a:cubicBezTo>
                <a:cubicBezTo>
                  <a:pt x="11561897" y="6578580"/>
                  <a:pt x="11552531" y="6577488"/>
                  <a:pt x="11545663" y="6573886"/>
                </a:cubicBezTo>
                <a:cubicBezTo>
                  <a:pt x="11537725" y="6569808"/>
                  <a:pt x="11532770" y="6561585"/>
                  <a:pt x="11532770" y="6549260"/>
                </a:cubicBezTo>
                <a:lnTo>
                  <a:pt x="11626201" y="6549260"/>
                </a:lnTo>
                <a:cubicBezTo>
                  <a:pt x="11632485" y="6549260"/>
                  <a:pt x="11633596" y="6544865"/>
                  <a:pt x="11633596" y="6540754"/>
                </a:cubicBezTo>
                <a:lnTo>
                  <a:pt x="11633596" y="6526210"/>
                </a:lnTo>
                <a:cubicBezTo>
                  <a:pt x="11633596" y="6498800"/>
                  <a:pt x="11628908" y="6477710"/>
                  <a:pt x="11617662" y="6464525"/>
                </a:cubicBezTo>
                <a:cubicBezTo>
                  <a:pt x="11605814" y="6453034"/>
                  <a:pt x="11586070" y="6445912"/>
                  <a:pt x="11557511" y="6445912"/>
                </a:cubicBezTo>
                <a:close/>
                <a:moveTo>
                  <a:pt x="10550012" y="6445912"/>
                </a:moveTo>
                <a:cubicBezTo>
                  <a:pt x="10480812" y="6445912"/>
                  <a:pt x="10471479" y="6482096"/>
                  <a:pt x="10471479" y="6528988"/>
                </a:cubicBezTo>
                <a:cubicBezTo>
                  <a:pt x="10471479" y="6575563"/>
                  <a:pt x="10480812" y="6611496"/>
                  <a:pt x="10550012" y="6611496"/>
                </a:cubicBezTo>
                <a:cubicBezTo>
                  <a:pt x="10619263" y="6611496"/>
                  <a:pt x="10628579" y="6575571"/>
                  <a:pt x="10628579" y="6528988"/>
                </a:cubicBezTo>
                <a:cubicBezTo>
                  <a:pt x="10628579" y="6482096"/>
                  <a:pt x="10619263" y="6445912"/>
                  <a:pt x="10550012" y="6445912"/>
                </a:cubicBezTo>
                <a:close/>
                <a:moveTo>
                  <a:pt x="11272930" y="6445904"/>
                </a:moveTo>
                <a:cubicBezTo>
                  <a:pt x="11240001" y="6445912"/>
                  <a:pt x="11210565" y="6454669"/>
                  <a:pt x="11204841" y="6457112"/>
                </a:cubicBezTo>
                <a:cubicBezTo>
                  <a:pt x="11202919" y="6457988"/>
                  <a:pt x="11200981" y="6459047"/>
                  <a:pt x="11200981" y="6461240"/>
                </a:cubicBezTo>
                <a:lnTo>
                  <a:pt x="11200981" y="6462316"/>
                </a:lnTo>
                <a:cubicBezTo>
                  <a:pt x="11200981" y="6462583"/>
                  <a:pt x="11201265" y="6462875"/>
                  <a:pt x="11201265" y="6463158"/>
                </a:cubicBezTo>
                <a:lnTo>
                  <a:pt x="11206462" y="6485899"/>
                </a:lnTo>
                <a:cubicBezTo>
                  <a:pt x="11206746" y="6487534"/>
                  <a:pt x="11207832" y="6488109"/>
                  <a:pt x="11209244" y="6488109"/>
                </a:cubicBezTo>
                <a:cubicBezTo>
                  <a:pt x="11209788" y="6488109"/>
                  <a:pt x="11210565" y="6488109"/>
                  <a:pt x="11211442" y="6487826"/>
                </a:cubicBezTo>
                <a:cubicBezTo>
                  <a:pt x="11218026" y="6485907"/>
                  <a:pt x="11242190" y="6479620"/>
                  <a:pt x="11261149" y="6479620"/>
                </a:cubicBezTo>
                <a:cubicBezTo>
                  <a:pt x="11270482" y="6479620"/>
                  <a:pt x="11277626" y="6480429"/>
                  <a:pt x="11281436" y="6482330"/>
                </a:cubicBezTo>
                <a:cubicBezTo>
                  <a:pt x="11287243" y="6485107"/>
                  <a:pt x="11288053" y="6490027"/>
                  <a:pt x="11288053" y="6497974"/>
                </a:cubicBezTo>
                <a:lnTo>
                  <a:pt x="11288053" y="6504829"/>
                </a:lnTo>
                <a:lnTo>
                  <a:pt x="11236158" y="6513068"/>
                </a:lnTo>
                <a:cubicBezTo>
                  <a:pt x="11216397" y="6516054"/>
                  <a:pt x="11190829" y="6522100"/>
                  <a:pt x="11190829" y="6559626"/>
                </a:cubicBezTo>
                <a:cubicBezTo>
                  <a:pt x="11190829" y="6606284"/>
                  <a:pt x="11228161" y="6611488"/>
                  <a:pt x="11265510" y="6611488"/>
                </a:cubicBezTo>
                <a:cubicBezTo>
                  <a:pt x="11283399" y="6611488"/>
                  <a:pt x="11297695" y="6610379"/>
                  <a:pt x="11309727" y="6607661"/>
                </a:cubicBezTo>
                <a:cubicBezTo>
                  <a:pt x="11329522" y="6602982"/>
                  <a:pt x="11339732" y="6599138"/>
                  <a:pt x="11339732" y="6576096"/>
                </a:cubicBezTo>
                <a:lnTo>
                  <a:pt x="11339732" y="6493304"/>
                </a:lnTo>
                <a:cubicBezTo>
                  <a:pt x="11339732" y="6476309"/>
                  <a:pt x="11334468" y="6463150"/>
                  <a:pt x="11319904" y="6454936"/>
                </a:cubicBezTo>
                <a:cubicBezTo>
                  <a:pt x="11309218" y="6448906"/>
                  <a:pt x="11294128" y="6445904"/>
                  <a:pt x="11272930" y="6445904"/>
                </a:cubicBezTo>
                <a:close/>
                <a:moveTo>
                  <a:pt x="10723313" y="6380908"/>
                </a:moveTo>
                <a:cubicBezTo>
                  <a:pt x="10686833" y="6380908"/>
                  <a:pt x="10670080" y="6397370"/>
                  <a:pt x="10670080" y="6429993"/>
                </a:cubicBezTo>
                <a:lnTo>
                  <a:pt x="10670080" y="6449715"/>
                </a:lnTo>
                <a:lnTo>
                  <a:pt x="10646718" y="6449715"/>
                </a:lnTo>
                <a:cubicBezTo>
                  <a:pt x="10644521" y="6449715"/>
                  <a:pt x="10642858" y="6451350"/>
                  <a:pt x="10642858" y="6453560"/>
                </a:cubicBezTo>
                <a:lnTo>
                  <a:pt x="10642858" y="6481805"/>
                </a:lnTo>
                <a:cubicBezTo>
                  <a:pt x="10642858" y="6484015"/>
                  <a:pt x="10644529" y="6485658"/>
                  <a:pt x="10646718" y="6485658"/>
                </a:cubicBezTo>
                <a:lnTo>
                  <a:pt x="10670080" y="6485658"/>
                </a:lnTo>
                <a:lnTo>
                  <a:pt x="10670080" y="6603808"/>
                </a:lnTo>
                <a:cubicBezTo>
                  <a:pt x="10670080" y="6606001"/>
                  <a:pt x="10671718" y="6607661"/>
                  <a:pt x="10673915" y="6607661"/>
                </a:cubicBezTo>
                <a:lnTo>
                  <a:pt x="10718417" y="6607661"/>
                </a:lnTo>
                <a:cubicBezTo>
                  <a:pt x="10720598" y="6607661"/>
                  <a:pt x="10722252" y="6605993"/>
                  <a:pt x="10722252" y="6603808"/>
                </a:cubicBezTo>
                <a:lnTo>
                  <a:pt x="10722252" y="6485666"/>
                </a:lnTo>
                <a:lnTo>
                  <a:pt x="10793140" y="6485666"/>
                </a:lnTo>
                <a:lnTo>
                  <a:pt x="10793140" y="6559126"/>
                </a:lnTo>
                <a:cubicBezTo>
                  <a:pt x="10793140" y="6596686"/>
                  <a:pt x="10812090" y="6610112"/>
                  <a:pt x="10849456" y="6610112"/>
                </a:cubicBezTo>
                <a:cubicBezTo>
                  <a:pt x="10870554" y="6610112"/>
                  <a:pt x="10884599" y="6605718"/>
                  <a:pt x="10887875" y="6604608"/>
                </a:cubicBezTo>
                <a:cubicBezTo>
                  <a:pt x="10890883" y="6603516"/>
                  <a:pt x="10892011" y="6602148"/>
                  <a:pt x="10892011" y="6599688"/>
                </a:cubicBezTo>
                <a:cubicBezTo>
                  <a:pt x="10892011" y="6598596"/>
                  <a:pt x="10891760" y="6597228"/>
                  <a:pt x="10891760" y="6597228"/>
                </a:cubicBezTo>
                <a:lnTo>
                  <a:pt x="10887607" y="6575563"/>
                </a:lnTo>
                <a:cubicBezTo>
                  <a:pt x="10887064" y="6573086"/>
                  <a:pt x="10885970" y="6572277"/>
                  <a:pt x="10884315" y="6572277"/>
                </a:cubicBezTo>
                <a:cubicBezTo>
                  <a:pt x="10884065" y="6572277"/>
                  <a:pt x="10883204" y="6572277"/>
                  <a:pt x="10882134" y="6572527"/>
                </a:cubicBezTo>
                <a:cubicBezTo>
                  <a:pt x="10881850" y="6572527"/>
                  <a:pt x="10881291" y="6572811"/>
                  <a:pt x="10880747" y="6572811"/>
                </a:cubicBezTo>
                <a:cubicBezTo>
                  <a:pt x="10877155" y="6573353"/>
                  <a:pt x="10870830" y="6574162"/>
                  <a:pt x="10863435" y="6574162"/>
                </a:cubicBezTo>
                <a:cubicBezTo>
                  <a:pt x="10847484" y="6574162"/>
                  <a:pt x="10844752" y="6566782"/>
                  <a:pt x="10844752" y="6555799"/>
                </a:cubicBezTo>
                <a:lnTo>
                  <a:pt x="10844752" y="6485891"/>
                </a:lnTo>
                <a:lnTo>
                  <a:pt x="10923026" y="6485891"/>
                </a:lnTo>
                <a:lnTo>
                  <a:pt x="10923026" y="6588722"/>
                </a:lnTo>
                <a:cubicBezTo>
                  <a:pt x="10923026" y="6598829"/>
                  <a:pt x="10932376" y="6602132"/>
                  <a:pt x="10949404" y="6605985"/>
                </a:cubicBezTo>
                <a:cubicBezTo>
                  <a:pt x="10962573" y="6608711"/>
                  <a:pt x="10981790" y="6611730"/>
                  <a:pt x="10996388" y="6611730"/>
                </a:cubicBezTo>
                <a:cubicBezTo>
                  <a:pt x="11014494" y="6611730"/>
                  <a:pt x="11033169" y="6608428"/>
                  <a:pt x="11046938" y="6598004"/>
                </a:cubicBezTo>
                <a:cubicBezTo>
                  <a:pt x="11065538" y="6608720"/>
                  <a:pt x="11086201" y="6611730"/>
                  <a:pt x="11105661" y="6611730"/>
                </a:cubicBezTo>
                <a:cubicBezTo>
                  <a:pt x="11142467" y="6611730"/>
                  <a:pt x="11167483" y="6602974"/>
                  <a:pt x="11167483" y="6566215"/>
                </a:cubicBezTo>
                <a:lnTo>
                  <a:pt x="11167483" y="6453560"/>
                </a:lnTo>
                <a:cubicBezTo>
                  <a:pt x="11167483" y="6451350"/>
                  <a:pt x="11165829" y="6449715"/>
                  <a:pt x="11163665" y="6449715"/>
                </a:cubicBezTo>
                <a:lnTo>
                  <a:pt x="11119414" y="6449715"/>
                </a:lnTo>
                <a:cubicBezTo>
                  <a:pt x="11117233" y="6449715"/>
                  <a:pt x="11115562" y="6451350"/>
                  <a:pt x="11115562" y="6453560"/>
                </a:cubicBezTo>
                <a:lnTo>
                  <a:pt x="11115562" y="6558851"/>
                </a:lnTo>
                <a:cubicBezTo>
                  <a:pt x="11115562" y="6575021"/>
                  <a:pt x="11105652" y="6579941"/>
                  <a:pt x="11093061" y="6579941"/>
                </a:cubicBezTo>
                <a:cubicBezTo>
                  <a:pt x="11083168" y="6579941"/>
                  <a:pt x="11071328" y="6576897"/>
                  <a:pt x="11071328" y="6576897"/>
                </a:cubicBezTo>
                <a:lnTo>
                  <a:pt x="11071328" y="6453560"/>
                </a:lnTo>
                <a:cubicBezTo>
                  <a:pt x="11071328" y="6451350"/>
                  <a:pt x="11069690" y="6449715"/>
                  <a:pt x="11067493" y="6449715"/>
                </a:cubicBezTo>
                <a:lnTo>
                  <a:pt x="11023292" y="6449715"/>
                </a:lnTo>
                <a:cubicBezTo>
                  <a:pt x="11021111" y="6449715"/>
                  <a:pt x="11019440" y="6451350"/>
                  <a:pt x="11019440" y="6453560"/>
                </a:cubicBezTo>
                <a:lnTo>
                  <a:pt x="11019440" y="6558851"/>
                </a:lnTo>
                <a:cubicBezTo>
                  <a:pt x="11019440" y="6575021"/>
                  <a:pt x="11012839" y="6579941"/>
                  <a:pt x="11000757" y="6579941"/>
                </a:cubicBezTo>
                <a:cubicBezTo>
                  <a:pt x="10990021" y="6579941"/>
                  <a:pt x="10974939" y="6577197"/>
                  <a:pt x="10974939" y="6577197"/>
                </a:cubicBezTo>
                <a:lnTo>
                  <a:pt x="10974939" y="6453560"/>
                </a:lnTo>
                <a:cubicBezTo>
                  <a:pt x="10974939" y="6451350"/>
                  <a:pt x="10973268" y="6449715"/>
                  <a:pt x="10971120" y="6449715"/>
                </a:cubicBezTo>
                <a:lnTo>
                  <a:pt x="10844743" y="6449715"/>
                </a:lnTo>
                <a:lnTo>
                  <a:pt x="10844743" y="6400922"/>
                </a:lnTo>
                <a:cubicBezTo>
                  <a:pt x="10844743" y="6397370"/>
                  <a:pt x="10842838" y="6395735"/>
                  <a:pt x="10839797" y="6395735"/>
                </a:cubicBezTo>
                <a:cubicBezTo>
                  <a:pt x="10839287" y="6395735"/>
                  <a:pt x="10837892" y="6395986"/>
                  <a:pt x="10836522" y="6396277"/>
                </a:cubicBezTo>
                <a:lnTo>
                  <a:pt x="10798580" y="6402866"/>
                </a:lnTo>
                <a:cubicBezTo>
                  <a:pt x="10795020" y="6403674"/>
                  <a:pt x="10793123" y="6406151"/>
                  <a:pt x="10793123" y="6410529"/>
                </a:cubicBezTo>
                <a:lnTo>
                  <a:pt x="10793123" y="6449724"/>
                </a:lnTo>
                <a:lnTo>
                  <a:pt x="10722244" y="6449724"/>
                </a:lnTo>
                <a:lnTo>
                  <a:pt x="10722244" y="6432470"/>
                </a:lnTo>
                <a:cubicBezTo>
                  <a:pt x="10722244" y="6426741"/>
                  <a:pt x="10723088" y="6422888"/>
                  <a:pt x="10726087" y="6420119"/>
                </a:cubicBezTo>
                <a:cubicBezTo>
                  <a:pt x="10729429" y="6417376"/>
                  <a:pt x="10733499" y="6416583"/>
                  <a:pt x="10740668" y="6416583"/>
                </a:cubicBezTo>
                <a:cubicBezTo>
                  <a:pt x="10745313" y="6416583"/>
                  <a:pt x="10752181" y="6417376"/>
                  <a:pt x="10755758" y="6417934"/>
                </a:cubicBezTo>
                <a:cubicBezTo>
                  <a:pt x="10756301" y="6417934"/>
                  <a:pt x="10756869" y="6418201"/>
                  <a:pt x="10757680" y="6418201"/>
                </a:cubicBezTo>
                <a:cubicBezTo>
                  <a:pt x="10759066" y="6418468"/>
                  <a:pt x="10760713" y="6418760"/>
                  <a:pt x="10761498" y="6418760"/>
                </a:cubicBezTo>
                <a:cubicBezTo>
                  <a:pt x="10763470" y="6418760"/>
                  <a:pt x="10764029" y="6417376"/>
                  <a:pt x="10764247" y="6414916"/>
                </a:cubicBezTo>
                <a:lnTo>
                  <a:pt x="10767589" y="6392983"/>
                </a:lnTo>
                <a:cubicBezTo>
                  <a:pt x="10767589" y="6392983"/>
                  <a:pt x="10767840" y="6391332"/>
                  <a:pt x="10767840" y="6390524"/>
                </a:cubicBezTo>
                <a:cubicBezTo>
                  <a:pt x="10767840" y="6388347"/>
                  <a:pt x="10767029" y="6386954"/>
                  <a:pt x="10764815" y="6386128"/>
                </a:cubicBezTo>
                <a:cubicBezTo>
                  <a:pt x="10760955" y="6385053"/>
                  <a:pt x="10746709" y="6380908"/>
                  <a:pt x="10723313" y="6380908"/>
                </a:cubicBezTo>
                <a:close/>
                <a:moveTo>
                  <a:pt x="10171834" y="6345000"/>
                </a:moveTo>
                <a:cubicBezTo>
                  <a:pt x="10110856" y="6345000"/>
                  <a:pt x="10070465" y="6389974"/>
                  <a:pt x="10070465" y="6451084"/>
                </a:cubicBezTo>
                <a:lnTo>
                  <a:pt x="10070465" y="6508391"/>
                </a:lnTo>
                <a:lnTo>
                  <a:pt x="10133382" y="6508391"/>
                </a:lnTo>
                <a:lnTo>
                  <a:pt x="10133382" y="6455771"/>
                </a:lnTo>
                <a:cubicBezTo>
                  <a:pt x="10133382" y="6422889"/>
                  <a:pt x="10147135" y="6407244"/>
                  <a:pt x="10177892" y="6407244"/>
                </a:cubicBezTo>
                <a:lnTo>
                  <a:pt x="10200118" y="6407244"/>
                </a:lnTo>
                <a:lnTo>
                  <a:pt x="10206735" y="6345000"/>
                </a:lnTo>
                <a:close/>
                <a:moveTo>
                  <a:pt x="0" y="0"/>
                </a:moveTo>
                <a:lnTo>
                  <a:pt x="12192000" y="0"/>
                </a:lnTo>
                <a:lnTo>
                  <a:pt x="12192000" y="6857999"/>
                </a:lnTo>
                <a:lnTo>
                  <a:pt x="0" y="6857999"/>
                </a:lnTo>
                <a:close/>
              </a:path>
            </a:pathLst>
          </a:custGeom>
          <a:solidFill>
            <a:schemeClr val="bg2"/>
          </a:solidFill>
        </p:spPr>
        <p:txBody>
          <a:bodyPr vert="horz" wrap="square" lIns="0" tIns="0" rIns="0" bIns="2916000" rtlCol="0" anchor="ctr" anchorCtr="1">
            <a:noAutofit/>
          </a:bodyPr>
          <a:lstStyle>
            <a:lvl1pPr>
              <a:defRPr lang="en-US" dirty="0"/>
            </a:lvl1pPr>
          </a:lstStyle>
          <a:p>
            <a:pPr lvl="0"/>
            <a:r>
              <a:rPr lang="en-US" dirty="0"/>
              <a:t>Click on area to add picture</a:t>
            </a:r>
          </a:p>
        </p:txBody>
      </p:sp>
      <p:sp>
        <p:nvSpPr>
          <p:cNvPr id="2" name="Title 1">
            <a:extLst>
              <a:ext uri="{FF2B5EF4-FFF2-40B4-BE49-F238E27FC236}">
                <a16:creationId xmlns:a16="http://schemas.microsoft.com/office/drawing/2014/main" id="{5543FD78-2E05-4215-BFE0-6760A59C339B}"/>
              </a:ext>
            </a:extLst>
          </p:cNvPr>
          <p:cNvSpPr>
            <a:spLocks noGrp="1"/>
          </p:cNvSpPr>
          <p:nvPr>
            <p:ph type="title"/>
          </p:nvPr>
        </p:nvSpPr>
        <p:spPr>
          <a:xfrm>
            <a:off x="537" y="2748600"/>
            <a:ext cx="7942263" cy="1916454"/>
          </a:xfrm>
          <a:solidFill>
            <a:schemeClr val="tx2"/>
          </a:solidFill>
        </p:spPr>
        <p:txBody>
          <a:bodyPr lIns="352800" tIns="874800" bIns="291600">
            <a:spAutoFit/>
          </a:bodyPr>
          <a:lstStyle>
            <a:lvl1pPr algn="l" defTabSz="972000" rtl="0" eaLnBrk="1" latinLnBrk="0" hangingPunct="1">
              <a:lnSpc>
                <a:spcPct val="100000"/>
              </a:lnSpc>
              <a:spcBef>
                <a:spcPct val="0"/>
              </a:spcBef>
              <a:buNone/>
              <a:defRPr lang="en-US" sz="4800" b="1" i="0" kern="1200" baseline="0" dirty="0">
                <a:solidFill>
                  <a:schemeClr val="bg1"/>
                </a:solidFill>
                <a:latin typeface="+mj-lt"/>
                <a:ea typeface="+mj-ea"/>
                <a:cs typeface="+mj-cs"/>
              </a:defRPr>
            </a:lvl1pPr>
          </a:lstStyle>
          <a:p>
            <a:r>
              <a:rPr lang="en-US"/>
              <a:t>Click to edit Master title style</a:t>
            </a:r>
            <a:endParaRPr lang="en-US" dirty="0"/>
          </a:p>
        </p:txBody>
      </p:sp>
      <p:sp>
        <p:nvSpPr>
          <p:cNvPr id="13" name="Text Placeholder 11">
            <a:extLst>
              <a:ext uri="{FF2B5EF4-FFF2-40B4-BE49-F238E27FC236}">
                <a16:creationId xmlns:a16="http://schemas.microsoft.com/office/drawing/2014/main" id="{82680172-3F37-4709-8853-23CBCE7DD992}"/>
              </a:ext>
            </a:extLst>
          </p:cNvPr>
          <p:cNvSpPr>
            <a:spLocks noGrp="1"/>
          </p:cNvSpPr>
          <p:nvPr>
            <p:ph type="body" sz="quarter" idx="11" hasCustomPrompt="1"/>
          </p:nvPr>
        </p:nvSpPr>
        <p:spPr>
          <a:xfrm>
            <a:off x="361200" y="2942637"/>
            <a:ext cx="1623075" cy="583563"/>
          </a:xfrm>
        </p:spPr>
        <p:txBody>
          <a:bodyPr wrap="none"/>
          <a:lstStyle>
            <a:lvl1pPr>
              <a:defRPr lang="en-US" sz="3200" b="0" kern="1200" baseline="0" dirty="0">
                <a:solidFill>
                  <a:srgbClr val="99A5B1"/>
                </a:solidFill>
                <a:latin typeface="+mn-lt"/>
                <a:ea typeface="+mn-ea"/>
                <a:cs typeface="+mn-cs"/>
              </a:defRPr>
            </a:lvl1pPr>
          </a:lstStyle>
          <a:p>
            <a:pPr marL="0" lvl="0" indent="0" algn="l" defTabSz="914377" rtl="0" eaLnBrk="1" latinLnBrk="0" hangingPunct="1">
              <a:lnSpc>
                <a:spcPct val="120000"/>
              </a:lnSpc>
              <a:spcBef>
                <a:spcPts val="300"/>
              </a:spcBef>
              <a:spcAft>
                <a:spcPts val="600"/>
              </a:spcAft>
              <a:buFontTx/>
              <a:buNone/>
            </a:pPr>
            <a:r>
              <a:rPr lang="en-US" dirty="0"/>
              <a:t>##</a:t>
            </a:r>
          </a:p>
        </p:txBody>
      </p:sp>
      <p:sp>
        <p:nvSpPr>
          <p:cNvPr id="9" name="MIO_AGENDA_IGNORE_NAVIGATION" hidden="1">
            <a:extLst>
              <a:ext uri="{FF2B5EF4-FFF2-40B4-BE49-F238E27FC236}">
                <a16:creationId xmlns:a16="http://schemas.microsoft.com/office/drawing/2014/main" id="{67C39D05-6ACC-4578-9863-604D4F04E651}"/>
              </a:ext>
            </a:extLst>
          </p:cNvPr>
          <p:cNvSpPr/>
          <p:nvPr userDrawn="1"/>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endParaRPr>
          </a:p>
        </p:txBody>
      </p:sp>
      <p:sp>
        <p:nvSpPr>
          <p:cNvPr id="10" name="MIO_AGENDA_IGNORE_CHAPTER_REFERENCE" hidden="1">
            <a:extLst>
              <a:ext uri="{FF2B5EF4-FFF2-40B4-BE49-F238E27FC236}">
                <a16:creationId xmlns:a16="http://schemas.microsoft.com/office/drawing/2014/main" id="{A2E01614-0846-47B5-BDA3-A1D145846EAD}"/>
              </a:ext>
            </a:extLst>
          </p:cNvPr>
          <p:cNvSpPr/>
          <p:nvPr userDrawn="1"/>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endParaRPr>
          </a:p>
        </p:txBody>
      </p:sp>
      <p:sp>
        <p:nvSpPr>
          <p:cNvPr id="11" name="Layout Support" hidden="1">
            <a:extLst>
              <a:ext uri="{FF2B5EF4-FFF2-40B4-BE49-F238E27FC236}">
                <a16:creationId xmlns:a16="http://schemas.microsoft.com/office/drawing/2014/main" id="{2B726022-ACF2-4538-9A3B-79D0537F5387}"/>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D11000</a:t>
            </a:r>
          </a:p>
        </p:txBody>
      </p:sp>
    </p:spTree>
    <p:extLst>
      <p:ext uri="{BB962C8B-B14F-4D97-AF65-F5344CB8AC3E}">
        <p14:creationId xmlns:p14="http://schemas.microsoft.com/office/powerpoint/2010/main" val="1125802372"/>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5003">
          <p15:clr>
            <a:srgbClr val="FFFFFF"/>
          </p15:clr>
        </p15:guide>
        <p15:guide id="2" orient="horz" pos="1731">
          <p15:clr>
            <a:srgbClr val="FFFFFF"/>
          </p15:clr>
        </p15:guide>
        <p15:guide id="3" pos="228">
          <p15:clr>
            <a:srgbClr val="FFFFFF"/>
          </p15:clr>
        </p15:guide>
        <p15:guide id="4" orient="horz" pos="2956" userDrawn="1">
          <p15:clr>
            <a:srgbClr val="FFFFF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Full Bleed Image" preserve="1">
  <p:cSld name="Full Bleed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6E5D15C-6938-4C93-960A-E5308FDB9255}"/>
              </a:ext>
            </a:extLst>
          </p:cNvPr>
          <p:cNvSpPr/>
          <p:nvPr userDrawn="1"/>
        </p:nvSpPr>
        <p:spPr>
          <a:xfrm>
            <a:off x="9886800" y="6150600"/>
            <a:ext cx="2138400" cy="583200"/>
          </a:xfrm>
          <a:prstGeom prst="rect">
            <a:avLst/>
          </a:prstGeom>
          <a:solidFill>
            <a:schemeClr val="tx1"/>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6" name="Date Placeholder 5">
            <a:extLst>
              <a:ext uri="{FF2B5EF4-FFF2-40B4-BE49-F238E27FC236}">
                <a16:creationId xmlns:a16="http://schemas.microsoft.com/office/drawing/2014/main" id="{C68E0E53-1D00-43D4-AEA9-5AF9A1E4B443}"/>
              </a:ext>
            </a:extLst>
          </p:cNvPr>
          <p:cNvSpPr>
            <a:spLocks noGrp="1"/>
          </p:cNvSpPr>
          <p:nvPr>
            <p:ph type="dt" sz="half" idx="2"/>
          </p:nvPr>
        </p:nvSpPr>
        <p:spPr/>
        <p:txBody>
          <a:bodyPr/>
          <a:lstStyle>
            <a:lvl1pPr>
              <a:defRPr baseline="0"/>
            </a:lvl1pPr>
          </a:lstStyle>
          <a:p>
            <a:fld id="{04A728B0-2EE8-4602-849F-D2D469FDAEE2}" type="datetime1">
              <a:rPr lang="en-US"/>
              <a:pPr/>
              <a:t>1/29/2022</a:t>
            </a:fld>
            <a:endParaRPr lang="en-US" dirty="0"/>
          </a:p>
        </p:txBody>
      </p:sp>
      <p:sp>
        <p:nvSpPr>
          <p:cNvPr id="7" name="Footer Placeholder 6">
            <a:extLst>
              <a:ext uri="{FF2B5EF4-FFF2-40B4-BE49-F238E27FC236}">
                <a16:creationId xmlns:a16="http://schemas.microsoft.com/office/drawing/2014/main" id="{56903F9A-29C0-4984-942A-04A35DFF7716}"/>
              </a:ext>
            </a:extLst>
          </p:cNvPr>
          <p:cNvSpPr>
            <a:spLocks noGrp="1"/>
          </p:cNvSpPr>
          <p:nvPr>
            <p:ph type="ftr" sz="quarter" idx="3"/>
          </p:nvPr>
        </p:nvSpPr>
        <p:spPr/>
        <p:txBody>
          <a:bodyPr/>
          <a:lstStyle>
            <a:lvl1pPr>
              <a:defRPr baseline="0"/>
            </a:lvl1pPr>
          </a:lstStyle>
          <a:p>
            <a:r>
              <a:rPr lang="en-US"/>
              <a:t>© 2021 Software AG. All rights reserved. For internal use only and for Software AG Partners.</a:t>
            </a:r>
            <a:endParaRPr lang="en-US" dirty="0"/>
          </a:p>
        </p:txBody>
      </p:sp>
      <p:sp>
        <p:nvSpPr>
          <p:cNvPr id="8" name="Slide Number Placeholder 7">
            <a:extLst>
              <a:ext uri="{FF2B5EF4-FFF2-40B4-BE49-F238E27FC236}">
                <a16:creationId xmlns:a16="http://schemas.microsoft.com/office/drawing/2014/main" id="{2ECD80D2-B32A-4400-9F50-BA9B44B908FB}"/>
              </a:ext>
            </a:extLst>
          </p:cNvPr>
          <p:cNvSpPr>
            <a:spLocks noGrp="1"/>
          </p:cNvSpPr>
          <p:nvPr>
            <p:ph type="sldNum" sz="quarter" idx="4"/>
          </p:nvPr>
        </p:nvSpPr>
        <p:spPr/>
        <p:txBody>
          <a:bodyPr/>
          <a:lstStyle>
            <a:lvl1pPr>
              <a:defRPr baseline="0"/>
            </a:lvl1pPr>
          </a:lstStyle>
          <a:p>
            <a:fld id="{22FF84AA-2C76-4AF1-8502-73D25D47F37C}" type="slidenum">
              <a:rPr lang="en-US"/>
              <a:pPr/>
              <a:t>‹#›</a:t>
            </a:fld>
            <a:endParaRPr lang="en-US" dirty="0"/>
          </a:p>
        </p:txBody>
      </p:sp>
      <p:sp>
        <p:nvSpPr>
          <p:cNvPr id="30" name="Picture Placeholder 31">
            <a:extLst>
              <a:ext uri="{FF2B5EF4-FFF2-40B4-BE49-F238E27FC236}">
                <a16:creationId xmlns:a16="http://schemas.microsoft.com/office/drawing/2014/main" id="{92E973D3-49F4-4400-8A06-65A9139C8357}"/>
              </a:ext>
            </a:extLst>
          </p:cNvPr>
          <p:cNvSpPr>
            <a:spLocks noGrp="1"/>
          </p:cNvSpPr>
          <p:nvPr>
            <p:ph type="pic" sz="quarter" idx="31" hasCustomPrompt="1"/>
          </p:nvPr>
        </p:nvSpPr>
        <p:spPr>
          <a:xfrm>
            <a:off x="0" y="0"/>
            <a:ext cx="12191998" cy="6858000"/>
          </a:xfrm>
          <a:custGeom>
            <a:avLst/>
            <a:gdLst>
              <a:gd name="connsiteX0" fmla="*/ 11298788 w 12191998"/>
              <a:gd name="connsiteY0" fmla="*/ 6533358 h 6858000"/>
              <a:gd name="connsiteX1" fmla="*/ 11298788 w 12191998"/>
              <a:gd name="connsiteY1" fmla="*/ 6577748 h 6858000"/>
              <a:gd name="connsiteX2" fmla="*/ 11277098 w 12191998"/>
              <a:gd name="connsiteY2" fmla="*/ 6580508 h 6858000"/>
              <a:gd name="connsiteX3" fmla="*/ 11251296 w 12191998"/>
              <a:gd name="connsiteY3" fmla="*/ 6559126 h 6858000"/>
              <a:gd name="connsiteX4" fmla="*/ 11271583 w 12191998"/>
              <a:gd name="connsiteY4" fmla="*/ 6537753 h 6858000"/>
              <a:gd name="connsiteX5" fmla="*/ 10560747 w 12191998"/>
              <a:gd name="connsiteY5" fmla="*/ 6479619 h 6858000"/>
              <a:gd name="connsiteX6" fmla="*/ 10586349 w 12191998"/>
              <a:gd name="connsiteY6" fmla="*/ 6528988 h 6858000"/>
              <a:gd name="connsiteX7" fmla="*/ 10560747 w 12191998"/>
              <a:gd name="connsiteY7" fmla="*/ 6577739 h 6858000"/>
              <a:gd name="connsiteX8" fmla="*/ 10535246 w 12191998"/>
              <a:gd name="connsiteY8" fmla="*/ 6528988 h 6858000"/>
              <a:gd name="connsiteX9" fmla="*/ 10560747 w 12191998"/>
              <a:gd name="connsiteY9" fmla="*/ 6479619 h 6858000"/>
              <a:gd name="connsiteX10" fmla="*/ 11568237 w 12191998"/>
              <a:gd name="connsiteY10" fmla="*/ 6479077 h 6858000"/>
              <a:gd name="connsiteX11" fmla="*/ 11592661 w 12191998"/>
              <a:gd name="connsiteY11" fmla="*/ 6494421 h 6858000"/>
              <a:gd name="connsiteX12" fmla="*/ 11594332 w 12191998"/>
              <a:gd name="connsiteY12" fmla="*/ 6515511 h 6858000"/>
              <a:gd name="connsiteX13" fmla="*/ 11594332 w 12191998"/>
              <a:gd name="connsiteY13" fmla="*/ 6519889 h 6858000"/>
              <a:gd name="connsiteX14" fmla="*/ 11542987 w 12191998"/>
              <a:gd name="connsiteY14" fmla="*/ 6519889 h 6858000"/>
              <a:gd name="connsiteX15" fmla="*/ 11542987 w 12191998"/>
              <a:gd name="connsiteY15" fmla="*/ 6517179 h 6858000"/>
              <a:gd name="connsiteX16" fmla="*/ 11544357 w 12191998"/>
              <a:gd name="connsiteY16" fmla="*/ 6496340 h 6858000"/>
              <a:gd name="connsiteX17" fmla="*/ 11568237 w 12191998"/>
              <a:gd name="connsiteY17" fmla="*/ 6479077 h 6858000"/>
              <a:gd name="connsiteX18" fmla="*/ 11720656 w 12191998"/>
              <a:gd name="connsiteY18" fmla="*/ 6460415 h 6858000"/>
              <a:gd name="connsiteX19" fmla="*/ 11725886 w 12191998"/>
              <a:gd name="connsiteY19" fmla="*/ 6460415 h 6858000"/>
              <a:gd name="connsiteX20" fmla="*/ 11733582 w 12191998"/>
              <a:gd name="connsiteY20" fmla="*/ 6487000 h 6858000"/>
              <a:gd name="connsiteX21" fmla="*/ 11712977 w 12191998"/>
              <a:gd name="connsiteY21" fmla="*/ 6487000 h 6858000"/>
              <a:gd name="connsiteX22" fmla="*/ 11710245 w 12191998"/>
              <a:gd name="connsiteY22" fmla="*/ 6450024 h 6858000"/>
              <a:gd name="connsiteX23" fmla="*/ 11709167 w 12191998"/>
              <a:gd name="connsiteY23" fmla="*/ 6450850 h 6858000"/>
              <a:gd name="connsiteX24" fmla="*/ 11687317 w 12191998"/>
              <a:gd name="connsiteY24" fmla="*/ 6515787 h 6858000"/>
              <a:gd name="connsiteX25" fmla="*/ 11687033 w 12191998"/>
              <a:gd name="connsiteY25" fmla="*/ 6516896 h 6858000"/>
              <a:gd name="connsiteX26" fmla="*/ 11687827 w 12191998"/>
              <a:gd name="connsiteY26" fmla="*/ 6517455 h 6858000"/>
              <a:gd name="connsiteX27" fmla="*/ 11703886 w 12191998"/>
              <a:gd name="connsiteY27" fmla="*/ 6517455 h 6858000"/>
              <a:gd name="connsiteX28" fmla="*/ 11705014 w 12191998"/>
              <a:gd name="connsiteY28" fmla="*/ 6516329 h 6858000"/>
              <a:gd name="connsiteX29" fmla="*/ 11709977 w 12191998"/>
              <a:gd name="connsiteY29" fmla="*/ 6497716 h 6858000"/>
              <a:gd name="connsiteX30" fmla="*/ 11736581 w 12191998"/>
              <a:gd name="connsiteY30" fmla="*/ 6497716 h 6858000"/>
              <a:gd name="connsiteX31" fmla="*/ 11741528 w 12191998"/>
              <a:gd name="connsiteY31" fmla="*/ 6516329 h 6858000"/>
              <a:gd name="connsiteX32" fmla="*/ 11742656 w 12191998"/>
              <a:gd name="connsiteY32" fmla="*/ 6517455 h 6858000"/>
              <a:gd name="connsiteX33" fmla="*/ 11757763 w 12191998"/>
              <a:gd name="connsiteY33" fmla="*/ 6517455 h 6858000"/>
              <a:gd name="connsiteX34" fmla="*/ 11758573 w 12191998"/>
              <a:gd name="connsiteY34" fmla="*/ 6516896 h 6858000"/>
              <a:gd name="connsiteX35" fmla="*/ 11758272 w 12191998"/>
              <a:gd name="connsiteY35" fmla="*/ 6515787 h 6858000"/>
              <a:gd name="connsiteX36" fmla="*/ 11737442 w 12191998"/>
              <a:gd name="connsiteY36" fmla="*/ 6450850 h 6858000"/>
              <a:gd name="connsiteX37" fmla="*/ 11736314 w 12191998"/>
              <a:gd name="connsiteY37" fmla="*/ 6450024 h 6858000"/>
              <a:gd name="connsiteX38" fmla="*/ 10188067 w 12191998"/>
              <a:gd name="connsiteY38" fmla="*/ 6449732 h 6858000"/>
              <a:gd name="connsiteX39" fmla="*/ 10188067 w 12191998"/>
              <a:gd name="connsiteY39" fmla="*/ 6496048 h 6858000"/>
              <a:gd name="connsiteX40" fmla="*/ 10143574 w 12191998"/>
              <a:gd name="connsiteY40" fmla="*/ 6547343 h 6858000"/>
              <a:gd name="connsiteX41" fmla="*/ 10120796 w 12191998"/>
              <a:gd name="connsiteY41" fmla="*/ 6547343 h 6858000"/>
              <a:gd name="connsiteX42" fmla="*/ 10114179 w 12191998"/>
              <a:gd name="connsiteY42" fmla="*/ 6609537 h 6858000"/>
              <a:gd name="connsiteX43" fmla="*/ 10146874 w 12191998"/>
              <a:gd name="connsiteY43" fmla="*/ 6609537 h 6858000"/>
              <a:gd name="connsiteX44" fmla="*/ 10250959 w 12191998"/>
              <a:gd name="connsiteY44" fmla="*/ 6500735 h 6858000"/>
              <a:gd name="connsiteX45" fmla="*/ 10250959 w 12191998"/>
              <a:gd name="connsiteY45" fmla="*/ 6449732 h 6858000"/>
              <a:gd name="connsiteX46" fmla="*/ 11804146 w 12191998"/>
              <a:gd name="connsiteY46" fmla="*/ 6448589 h 6858000"/>
              <a:gd name="connsiteX47" fmla="*/ 11769822 w 12191998"/>
              <a:gd name="connsiteY47" fmla="*/ 6483747 h 6858000"/>
              <a:gd name="connsiteX48" fmla="*/ 11805809 w 12191998"/>
              <a:gd name="connsiteY48" fmla="*/ 6518563 h 6858000"/>
              <a:gd name="connsiteX49" fmla="*/ 11825035 w 12191998"/>
              <a:gd name="connsiteY49" fmla="*/ 6516645 h 6858000"/>
              <a:gd name="connsiteX50" fmla="*/ 11824792 w 12191998"/>
              <a:gd name="connsiteY50" fmla="*/ 6516645 h 6858000"/>
              <a:gd name="connsiteX51" fmla="*/ 11830800 w 12191998"/>
              <a:gd name="connsiteY51" fmla="*/ 6508698 h 6858000"/>
              <a:gd name="connsiteX52" fmla="*/ 11830800 w 12191998"/>
              <a:gd name="connsiteY52" fmla="*/ 6480678 h 6858000"/>
              <a:gd name="connsiteX53" fmla="*/ 11829730 w 12191998"/>
              <a:gd name="connsiteY53" fmla="*/ 6479619 h 6858000"/>
              <a:gd name="connsiteX54" fmla="*/ 11804146 w 12191998"/>
              <a:gd name="connsiteY54" fmla="*/ 6479619 h 6858000"/>
              <a:gd name="connsiteX55" fmla="*/ 11803068 w 12191998"/>
              <a:gd name="connsiteY55" fmla="*/ 6480678 h 6858000"/>
              <a:gd name="connsiteX56" fmla="*/ 11803068 w 12191998"/>
              <a:gd name="connsiteY56" fmla="*/ 6488917 h 6858000"/>
              <a:gd name="connsiteX57" fmla="*/ 11804146 w 12191998"/>
              <a:gd name="connsiteY57" fmla="*/ 6490310 h 6858000"/>
              <a:gd name="connsiteX58" fmla="*/ 11815134 w 12191998"/>
              <a:gd name="connsiteY58" fmla="*/ 6491403 h 6858000"/>
              <a:gd name="connsiteX59" fmla="*/ 11815134 w 12191998"/>
              <a:gd name="connsiteY59" fmla="*/ 6507572 h 6858000"/>
              <a:gd name="connsiteX60" fmla="*/ 11806327 w 12191998"/>
              <a:gd name="connsiteY60" fmla="*/ 6507856 h 6858000"/>
              <a:gd name="connsiteX61" fmla="*/ 11786575 w 12191998"/>
              <a:gd name="connsiteY61" fmla="*/ 6484273 h 6858000"/>
              <a:gd name="connsiteX62" fmla="*/ 11808249 w 12191998"/>
              <a:gd name="connsiteY62" fmla="*/ 6460147 h 6858000"/>
              <a:gd name="connsiteX63" fmla="*/ 11824784 w 12191998"/>
              <a:gd name="connsiteY63" fmla="*/ 6462049 h 6858000"/>
              <a:gd name="connsiteX64" fmla="*/ 11826138 w 12191998"/>
              <a:gd name="connsiteY64" fmla="*/ 6462299 h 6858000"/>
              <a:gd name="connsiteX65" fmla="*/ 11828335 w 12191998"/>
              <a:gd name="connsiteY65" fmla="*/ 6462566 h 6858000"/>
              <a:gd name="connsiteX66" fmla="*/ 11829730 w 12191998"/>
              <a:gd name="connsiteY66" fmla="*/ 6460689 h 6858000"/>
              <a:gd name="connsiteX67" fmla="*/ 11830508 w 12191998"/>
              <a:gd name="connsiteY67" fmla="*/ 6456278 h 6858000"/>
              <a:gd name="connsiteX68" fmla="*/ 11830792 w 12191998"/>
              <a:gd name="connsiteY68" fmla="*/ 6454101 h 6858000"/>
              <a:gd name="connsiteX69" fmla="*/ 11829396 w 12191998"/>
              <a:gd name="connsiteY69" fmla="*/ 6452434 h 6858000"/>
              <a:gd name="connsiteX70" fmla="*/ 11804146 w 12191998"/>
              <a:gd name="connsiteY70" fmla="*/ 6448589 h 6858000"/>
              <a:gd name="connsiteX71" fmla="*/ 11468798 w 12191998"/>
              <a:gd name="connsiteY71" fmla="*/ 6446454 h 6858000"/>
              <a:gd name="connsiteX72" fmla="*/ 11414988 w 12191998"/>
              <a:gd name="connsiteY72" fmla="*/ 6451917 h 6858000"/>
              <a:gd name="connsiteX73" fmla="*/ 11388050 w 12191998"/>
              <a:gd name="connsiteY73" fmla="*/ 6469487 h 6858000"/>
              <a:gd name="connsiteX74" fmla="*/ 11388050 w 12191998"/>
              <a:gd name="connsiteY74" fmla="*/ 6603823 h 6858000"/>
              <a:gd name="connsiteX75" fmla="*/ 11391919 w 12191998"/>
              <a:gd name="connsiteY75" fmla="*/ 6607676 h 6858000"/>
              <a:gd name="connsiteX76" fmla="*/ 11436086 w 12191998"/>
              <a:gd name="connsiteY76" fmla="*/ 6607676 h 6858000"/>
              <a:gd name="connsiteX77" fmla="*/ 11439963 w 12191998"/>
              <a:gd name="connsiteY77" fmla="*/ 6603823 h 6858000"/>
              <a:gd name="connsiteX78" fmla="*/ 11439963 w 12191998"/>
              <a:gd name="connsiteY78" fmla="*/ 6485899 h 6858000"/>
              <a:gd name="connsiteX79" fmla="*/ 11474847 w 12191998"/>
              <a:gd name="connsiteY79" fmla="*/ 6483455 h 6858000"/>
              <a:gd name="connsiteX80" fmla="*/ 11480345 w 12191998"/>
              <a:gd name="connsiteY80" fmla="*/ 6477109 h 6858000"/>
              <a:gd name="connsiteX81" fmla="*/ 11480345 w 12191998"/>
              <a:gd name="connsiteY81" fmla="*/ 6452750 h 6858000"/>
              <a:gd name="connsiteX82" fmla="*/ 11474003 w 12191998"/>
              <a:gd name="connsiteY82" fmla="*/ 6446454 h 6858000"/>
              <a:gd name="connsiteX83" fmla="*/ 10401190 w 12191998"/>
              <a:gd name="connsiteY83" fmla="*/ 6445921 h 6858000"/>
              <a:gd name="connsiteX84" fmla="*/ 10335023 w 12191998"/>
              <a:gd name="connsiteY84" fmla="*/ 6496039 h 6858000"/>
              <a:gd name="connsiteX85" fmla="*/ 10382516 w 12191998"/>
              <a:gd name="connsiteY85" fmla="*/ 6545666 h 6858000"/>
              <a:gd name="connsiteX86" fmla="*/ 10385549 w 12191998"/>
              <a:gd name="connsiteY86" fmla="*/ 6546191 h 6858000"/>
              <a:gd name="connsiteX87" fmla="*/ 10406153 w 12191998"/>
              <a:gd name="connsiteY87" fmla="*/ 6563203 h 6858000"/>
              <a:gd name="connsiteX88" fmla="*/ 10384972 w 12191998"/>
              <a:gd name="connsiteY88" fmla="*/ 6578581 h 6858000"/>
              <a:gd name="connsiteX89" fmla="*/ 10343504 w 12191998"/>
              <a:gd name="connsiteY89" fmla="*/ 6572285 h 6858000"/>
              <a:gd name="connsiteX90" fmla="*/ 10343771 w 12191998"/>
              <a:gd name="connsiteY90" fmla="*/ 6572285 h 6858000"/>
              <a:gd name="connsiteX91" fmla="*/ 10342961 w 12191998"/>
              <a:gd name="connsiteY91" fmla="*/ 6572034 h 6858000"/>
              <a:gd name="connsiteX92" fmla="*/ 10339936 w 12191998"/>
              <a:gd name="connsiteY92" fmla="*/ 6571459 h 6858000"/>
              <a:gd name="connsiteX93" fmla="*/ 10336886 w 12191998"/>
              <a:gd name="connsiteY93" fmla="*/ 6575304 h 6858000"/>
              <a:gd name="connsiteX94" fmla="*/ 10333628 w 12191998"/>
              <a:gd name="connsiteY94" fmla="*/ 6594759 h 6858000"/>
              <a:gd name="connsiteX95" fmla="*/ 10333068 w 12191998"/>
              <a:gd name="connsiteY95" fmla="*/ 6598854 h 6858000"/>
              <a:gd name="connsiteX96" fmla="*/ 10336076 w 12191998"/>
              <a:gd name="connsiteY96" fmla="*/ 6602698 h 6858000"/>
              <a:gd name="connsiteX97" fmla="*/ 10392408 w 12191998"/>
              <a:gd name="connsiteY97" fmla="*/ 6611237 h 6858000"/>
              <a:gd name="connsiteX98" fmla="*/ 10458567 w 12191998"/>
              <a:gd name="connsiteY98" fmla="*/ 6558867 h 6858000"/>
              <a:gd name="connsiteX99" fmla="*/ 10414935 w 12191998"/>
              <a:gd name="connsiteY99" fmla="*/ 6510324 h 6858000"/>
              <a:gd name="connsiteX100" fmla="*/ 10410481 w 12191998"/>
              <a:gd name="connsiteY100" fmla="*/ 6509516 h 6858000"/>
              <a:gd name="connsiteX101" fmla="*/ 10387429 w 12191998"/>
              <a:gd name="connsiteY101" fmla="*/ 6492487 h 6858000"/>
              <a:gd name="connsiteX102" fmla="*/ 10409437 w 12191998"/>
              <a:gd name="connsiteY102" fmla="*/ 6478285 h 6858000"/>
              <a:gd name="connsiteX103" fmla="*/ 10440202 w 12191998"/>
              <a:gd name="connsiteY103" fmla="*/ 6481821 h 6858000"/>
              <a:gd name="connsiteX104" fmla="*/ 10445674 w 12191998"/>
              <a:gd name="connsiteY104" fmla="*/ 6482663 h 6858000"/>
              <a:gd name="connsiteX105" fmla="*/ 10449526 w 12191998"/>
              <a:gd name="connsiteY105" fmla="*/ 6479903 h 6858000"/>
              <a:gd name="connsiteX106" fmla="*/ 10453378 w 12191998"/>
              <a:gd name="connsiteY106" fmla="*/ 6459872 h 6858000"/>
              <a:gd name="connsiteX107" fmla="*/ 10453646 w 12191998"/>
              <a:gd name="connsiteY107" fmla="*/ 6457696 h 6858000"/>
              <a:gd name="connsiteX108" fmla="*/ 10447889 w 12191998"/>
              <a:gd name="connsiteY108" fmla="*/ 6451916 h 6858000"/>
              <a:gd name="connsiteX109" fmla="*/ 10401190 w 12191998"/>
              <a:gd name="connsiteY109" fmla="*/ 6445921 h 6858000"/>
              <a:gd name="connsiteX110" fmla="*/ 11568246 w 12191998"/>
              <a:gd name="connsiteY110" fmla="*/ 6445912 h 6858000"/>
              <a:gd name="connsiteX111" fmla="*/ 11489963 w 12191998"/>
              <a:gd name="connsiteY111" fmla="*/ 6529780 h 6858000"/>
              <a:gd name="connsiteX112" fmla="*/ 11576752 w 12191998"/>
              <a:gd name="connsiteY112" fmla="*/ 6611495 h 6858000"/>
              <a:gd name="connsiteX113" fmla="*/ 11633068 w 12191998"/>
              <a:gd name="connsiteY113" fmla="*/ 6601597 h 6858000"/>
              <a:gd name="connsiteX114" fmla="*/ 11637187 w 12191998"/>
              <a:gd name="connsiteY114" fmla="*/ 6596410 h 6858000"/>
              <a:gd name="connsiteX115" fmla="*/ 11636936 w 12191998"/>
              <a:gd name="connsiteY115" fmla="*/ 6594200 h 6858000"/>
              <a:gd name="connsiteX116" fmla="*/ 11632533 w 12191998"/>
              <a:gd name="connsiteY116" fmla="*/ 6576112 h 6858000"/>
              <a:gd name="connsiteX117" fmla="*/ 11632533 w 12191998"/>
              <a:gd name="connsiteY117" fmla="*/ 6576379 h 6858000"/>
              <a:gd name="connsiteX118" fmla="*/ 11627570 w 12191998"/>
              <a:gd name="connsiteY118" fmla="*/ 6571726 h 6858000"/>
              <a:gd name="connsiteX119" fmla="*/ 11623994 w 12191998"/>
              <a:gd name="connsiteY119" fmla="*/ 6572284 h 6858000"/>
              <a:gd name="connsiteX120" fmla="*/ 11624278 w 12191998"/>
              <a:gd name="connsiteY120" fmla="*/ 6572284 h 6858000"/>
              <a:gd name="connsiteX121" fmla="*/ 11586085 w 12191998"/>
              <a:gd name="connsiteY121" fmla="*/ 6578580 h 6858000"/>
              <a:gd name="connsiteX122" fmla="*/ 11556398 w 12191998"/>
              <a:gd name="connsiteY122" fmla="*/ 6573886 h 6858000"/>
              <a:gd name="connsiteX123" fmla="*/ 11543505 w 12191998"/>
              <a:gd name="connsiteY123" fmla="*/ 6549260 h 6858000"/>
              <a:gd name="connsiteX124" fmla="*/ 11636936 w 12191998"/>
              <a:gd name="connsiteY124" fmla="*/ 6549260 h 6858000"/>
              <a:gd name="connsiteX125" fmla="*/ 11644331 w 12191998"/>
              <a:gd name="connsiteY125" fmla="*/ 6540754 h 6858000"/>
              <a:gd name="connsiteX126" fmla="*/ 11644331 w 12191998"/>
              <a:gd name="connsiteY126" fmla="*/ 6526210 h 6858000"/>
              <a:gd name="connsiteX127" fmla="*/ 11628397 w 12191998"/>
              <a:gd name="connsiteY127" fmla="*/ 6464525 h 6858000"/>
              <a:gd name="connsiteX128" fmla="*/ 11568246 w 12191998"/>
              <a:gd name="connsiteY128" fmla="*/ 6445912 h 6858000"/>
              <a:gd name="connsiteX129" fmla="*/ 10560747 w 12191998"/>
              <a:gd name="connsiteY129" fmla="*/ 6445912 h 6858000"/>
              <a:gd name="connsiteX130" fmla="*/ 10482214 w 12191998"/>
              <a:gd name="connsiteY130" fmla="*/ 6528988 h 6858000"/>
              <a:gd name="connsiteX131" fmla="*/ 10560747 w 12191998"/>
              <a:gd name="connsiteY131" fmla="*/ 6611496 h 6858000"/>
              <a:gd name="connsiteX132" fmla="*/ 10639314 w 12191998"/>
              <a:gd name="connsiteY132" fmla="*/ 6528988 h 6858000"/>
              <a:gd name="connsiteX133" fmla="*/ 10560747 w 12191998"/>
              <a:gd name="connsiteY133" fmla="*/ 6445912 h 6858000"/>
              <a:gd name="connsiteX134" fmla="*/ 11283665 w 12191998"/>
              <a:gd name="connsiteY134" fmla="*/ 6445904 h 6858000"/>
              <a:gd name="connsiteX135" fmla="*/ 11215576 w 12191998"/>
              <a:gd name="connsiteY135" fmla="*/ 6457112 h 6858000"/>
              <a:gd name="connsiteX136" fmla="*/ 11211716 w 12191998"/>
              <a:gd name="connsiteY136" fmla="*/ 6461240 h 6858000"/>
              <a:gd name="connsiteX137" fmla="*/ 11211716 w 12191998"/>
              <a:gd name="connsiteY137" fmla="*/ 6462316 h 6858000"/>
              <a:gd name="connsiteX138" fmla="*/ 11212000 w 12191998"/>
              <a:gd name="connsiteY138" fmla="*/ 6463158 h 6858000"/>
              <a:gd name="connsiteX139" fmla="*/ 11217197 w 12191998"/>
              <a:gd name="connsiteY139" fmla="*/ 6485899 h 6858000"/>
              <a:gd name="connsiteX140" fmla="*/ 11219979 w 12191998"/>
              <a:gd name="connsiteY140" fmla="*/ 6488109 h 6858000"/>
              <a:gd name="connsiteX141" fmla="*/ 11222177 w 12191998"/>
              <a:gd name="connsiteY141" fmla="*/ 6487826 h 6858000"/>
              <a:gd name="connsiteX142" fmla="*/ 11271884 w 12191998"/>
              <a:gd name="connsiteY142" fmla="*/ 6479620 h 6858000"/>
              <a:gd name="connsiteX143" fmla="*/ 11292171 w 12191998"/>
              <a:gd name="connsiteY143" fmla="*/ 6482330 h 6858000"/>
              <a:gd name="connsiteX144" fmla="*/ 11298788 w 12191998"/>
              <a:gd name="connsiteY144" fmla="*/ 6497974 h 6858000"/>
              <a:gd name="connsiteX145" fmla="*/ 11298788 w 12191998"/>
              <a:gd name="connsiteY145" fmla="*/ 6504829 h 6858000"/>
              <a:gd name="connsiteX146" fmla="*/ 11246893 w 12191998"/>
              <a:gd name="connsiteY146" fmla="*/ 6513068 h 6858000"/>
              <a:gd name="connsiteX147" fmla="*/ 11201564 w 12191998"/>
              <a:gd name="connsiteY147" fmla="*/ 6559626 h 6858000"/>
              <a:gd name="connsiteX148" fmla="*/ 11276245 w 12191998"/>
              <a:gd name="connsiteY148" fmla="*/ 6611488 h 6858000"/>
              <a:gd name="connsiteX149" fmla="*/ 11320462 w 12191998"/>
              <a:gd name="connsiteY149" fmla="*/ 6607661 h 6858000"/>
              <a:gd name="connsiteX150" fmla="*/ 11350467 w 12191998"/>
              <a:gd name="connsiteY150" fmla="*/ 6576096 h 6858000"/>
              <a:gd name="connsiteX151" fmla="*/ 11350467 w 12191998"/>
              <a:gd name="connsiteY151" fmla="*/ 6493304 h 6858000"/>
              <a:gd name="connsiteX152" fmla="*/ 11330639 w 12191998"/>
              <a:gd name="connsiteY152" fmla="*/ 6454936 h 6858000"/>
              <a:gd name="connsiteX153" fmla="*/ 11283665 w 12191998"/>
              <a:gd name="connsiteY153" fmla="*/ 6445904 h 6858000"/>
              <a:gd name="connsiteX154" fmla="*/ 10734048 w 12191998"/>
              <a:gd name="connsiteY154" fmla="*/ 6380908 h 6858000"/>
              <a:gd name="connsiteX155" fmla="*/ 10680815 w 12191998"/>
              <a:gd name="connsiteY155" fmla="*/ 6429993 h 6858000"/>
              <a:gd name="connsiteX156" fmla="*/ 10680815 w 12191998"/>
              <a:gd name="connsiteY156" fmla="*/ 6449715 h 6858000"/>
              <a:gd name="connsiteX157" fmla="*/ 10657453 w 12191998"/>
              <a:gd name="connsiteY157" fmla="*/ 6449715 h 6858000"/>
              <a:gd name="connsiteX158" fmla="*/ 10653593 w 12191998"/>
              <a:gd name="connsiteY158" fmla="*/ 6453560 h 6858000"/>
              <a:gd name="connsiteX159" fmla="*/ 10653593 w 12191998"/>
              <a:gd name="connsiteY159" fmla="*/ 6481805 h 6858000"/>
              <a:gd name="connsiteX160" fmla="*/ 10657453 w 12191998"/>
              <a:gd name="connsiteY160" fmla="*/ 6485658 h 6858000"/>
              <a:gd name="connsiteX161" fmla="*/ 10680815 w 12191998"/>
              <a:gd name="connsiteY161" fmla="*/ 6485658 h 6858000"/>
              <a:gd name="connsiteX162" fmla="*/ 10680815 w 12191998"/>
              <a:gd name="connsiteY162" fmla="*/ 6603808 h 6858000"/>
              <a:gd name="connsiteX163" fmla="*/ 10684650 w 12191998"/>
              <a:gd name="connsiteY163" fmla="*/ 6607661 h 6858000"/>
              <a:gd name="connsiteX164" fmla="*/ 10729152 w 12191998"/>
              <a:gd name="connsiteY164" fmla="*/ 6607661 h 6858000"/>
              <a:gd name="connsiteX165" fmla="*/ 10732987 w 12191998"/>
              <a:gd name="connsiteY165" fmla="*/ 6603808 h 6858000"/>
              <a:gd name="connsiteX166" fmla="*/ 10732987 w 12191998"/>
              <a:gd name="connsiteY166" fmla="*/ 6485666 h 6858000"/>
              <a:gd name="connsiteX167" fmla="*/ 10803875 w 12191998"/>
              <a:gd name="connsiteY167" fmla="*/ 6485666 h 6858000"/>
              <a:gd name="connsiteX168" fmla="*/ 10803875 w 12191998"/>
              <a:gd name="connsiteY168" fmla="*/ 6559126 h 6858000"/>
              <a:gd name="connsiteX169" fmla="*/ 10860191 w 12191998"/>
              <a:gd name="connsiteY169" fmla="*/ 6610112 h 6858000"/>
              <a:gd name="connsiteX170" fmla="*/ 10898610 w 12191998"/>
              <a:gd name="connsiteY170" fmla="*/ 6604608 h 6858000"/>
              <a:gd name="connsiteX171" fmla="*/ 10902746 w 12191998"/>
              <a:gd name="connsiteY171" fmla="*/ 6599688 h 6858000"/>
              <a:gd name="connsiteX172" fmla="*/ 10902495 w 12191998"/>
              <a:gd name="connsiteY172" fmla="*/ 6597228 h 6858000"/>
              <a:gd name="connsiteX173" fmla="*/ 10898342 w 12191998"/>
              <a:gd name="connsiteY173" fmla="*/ 6575563 h 6858000"/>
              <a:gd name="connsiteX174" fmla="*/ 10895050 w 12191998"/>
              <a:gd name="connsiteY174" fmla="*/ 6572277 h 6858000"/>
              <a:gd name="connsiteX175" fmla="*/ 10892869 w 12191998"/>
              <a:gd name="connsiteY175" fmla="*/ 6572527 h 6858000"/>
              <a:gd name="connsiteX176" fmla="*/ 10891482 w 12191998"/>
              <a:gd name="connsiteY176" fmla="*/ 6572811 h 6858000"/>
              <a:gd name="connsiteX177" fmla="*/ 10874170 w 12191998"/>
              <a:gd name="connsiteY177" fmla="*/ 6574162 h 6858000"/>
              <a:gd name="connsiteX178" fmla="*/ 10855487 w 12191998"/>
              <a:gd name="connsiteY178" fmla="*/ 6555799 h 6858000"/>
              <a:gd name="connsiteX179" fmla="*/ 10855487 w 12191998"/>
              <a:gd name="connsiteY179" fmla="*/ 6485891 h 6858000"/>
              <a:gd name="connsiteX180" fmla="*/ 10933761 w 12191998"/>
              <a:gd name="connsiteY180" fmla="*/ 6485891 h 6858000"/>
              <a:gd name="connsiteX181" fmla="*/ 10933761 w 12191998"/>
              <a:gd name="connsiteY181" fmla="*/ 6588722 h 6858000"/>
              <a:gd name="connsiteX182" fmla="*/ 10960139 w 12191998"/>
              <a:gd name="connsiteY182" fmla="*/ 6605985 h 6858000"/>
              <a:gd name="connsiteX183" fmla="*/ 11007123 w 12191998"/>
              <a:gd name="connsiteY183" fmla="*/ 6611730 h 6858000"/>
              <a:gd name="connsiteX184" fmla="*/ 11057673 w 12191998"/>
              <a:gd name="connsiteY184" fmla="*/ 6598004 h 6858000"/>
              <a:gd name="connsiteX185" fmla="*/ 11116396 w 12191998"/>
              <a:gd name="connsiteY185" fmla="*/ 6611730 h 6858000"/>
              <a:gd name="connsiteX186" fmla="*/ 11178218 w 12191998"/>
              <a:gd name="connsiteY186" fmla="*/ 6566215 h 6858000"/>
              <a:gd name="connsiteX187" fmla="*/ 11178218 w 12191998"/>
              <a:gd name="connsiteY187" fmla="*/ 6453560 h 6858000"/>
              <a:gd name="connsiteX188" fmla="*/ 11174400 w 12191998"/>
              <a:gd name="connsiteY188" fmla="*/ 6449715 h 6858000"/>
              <a:gd name="connsiteX189" fmla="*/ 11130149 w 12191998"/>
              <a:gd name="connsiteY189" fmla="*/ 6449715 h 6858000"/>
              <a:gd name="connsiteX190" fmla="*/ 11126297 w 12191998"/>
              <a:gd name="connsiteY190" fmla="*/ 6453560 h 6858000"/>
              <a:gd name="connsiteX191" fmla="*/ 11126297 w 12191998"/>
              <a:gd name="connsiteY191" fmla="*/ 6558851 h 6858000"/>
              <a:gd name="connsiteX192" fmla="*/ 11103796 w 12191998"/>
              <a:gd name="connsiteY192" fmla="*/ 6579941 h 6858000"/>
              <a:gd name="connsiteX193" fmla="*/ 11082063 w 12191998"/>
              <a:gd name="connsiteY193" fmla="*/ 6576897 h 6858000"/>
              <a:gd name="connsiteX194" fmla="*/ 11082063 w 12191998"/>
              <a:gd name="connsiteY194" fmla="*/ 6453560 h 6858000"/>
              <a:gd name="connsiteX195" fmla="*/ 11078228 w 12191998"/>
              <a:gd name="connsiteY195" fmla="*/ 6449715 h 6858000"/>
              <a:gd name="connsiteX196" fmla="*/ 11034027 w 12191998"/>
              <a:gd name="connsiteY196" fmla="*/ 6449715 h 6858000"/>
              <a:gd name="connsiteX197" fmla="*/ 11030175 w 12191998"/>
              <a:gd name="connsiteY197" fmla="*/ 6453560 h 6858000"/>
              <a:gd name="connsiteX198" fmla="*/ 11030175 w 12191998"/>
              <a:gd name="connsiteY198" fmla="*/ 6558851 h 6858000"/>
              <a:gd name="connsiteX199" fmla="*/ 11011492 w 12191998"/>
              <a:gd name="connsiteY199" fmla="*/ 6579941 h 6858000"/>
              <a:gd name="connsiteX200" fmla="*/ 10985674 w 12191998"/>
              <a:gd name="connsiteY200" fmla="*/ 6577197 h 6858000"/>
              <a:gd name="connsiteX201" fmla="*/ 10985674 w 12191998"/>
              <a:gd name="connsiteY201" fmla="*/ 6453560 h 6858000"/>
              <a:gd name="connsiteX202" fmla="*/ 10981855 w 12191998"/>
              <a:gd name="connsiteY202" fmla="*/ 6449715 h 6858000"/>
              <a:gd name="connsiteX203" fmla="*/ 10855478 w 12191998"/>
              <a:gd name="connsiteY203" fmla="*/ 6449715 h 6858000"/>
              <a:gd name="connsiteX204" fmla="*/ 10855478 w 12191998"/>
              <a:gd name="connsiteY204" fmla="*/ 6400922 h 6858000"/>
              <a:gd name="connsiteX205" fmla="*/ 10850532 w 12191998"/>
              <a:gd name="connsiteY205" fmla="*/ 6395735 h 6858000"/>
              <a:gd name="connsiteX206" fmla="*/ 10847257 w 12191998"/>
              <a:gd name="connsiteY206" fmla="*/ 6396277 h 6858000"/>
              <a:gd name="connsiteX207" fmla="*/ 10809315 w 12191998"/>
              <a:gd name="connsiteY207" fmla="*/ 6402866 h 6858000"/>
              <a:gd name="connsiteX208" fmla="*/ 10803858 w 12191998"/>
              <a:gd name="connsiteY208" fmla="*/ 6410529 h 6858000"/>
              <a:gd name="connsiteX209" fmla="*/ 10803858 w 12191998"/>
              <a:gd name="connsiteY209" fmla="*/ 6449724 h 6858000"/>
              <a:gd name="connsiteX210" fmla="*/ 10732979 w 12191998"/>
              <a:gd name="connsiteY210" fmla="*/ 6449724 h 6858000"/>
              <a:gd name="connsiteX211" fmla="*/ 10732979 w 12191998"/>
              <a:gd name="connsiteY211" fmla="*/ 6432470 h 6858000"/>
              <a:gd name="connsiteX212" fmla="*/ 10736822 w 12191998"/>
              <a:gd name="connsiteY212" fmla="*/ 6420119 h 6858000"/>
              <a:gd name="connsiteX213" fmla="*/ 10751403 w 12191998"/>
              <a:gd name="connsiteY213" fmla="*/ 6416583 h 6858000"/>
              <a:gd name="connsiteX214" fmla="*/ 10766493 w 12191998"/>
              <a:gd name="connsiteY214" fmla="*/ 6417934 h 6858000"/>
              <a:gd name="connsiteX215" fmla="*/ 10768415 w 12191998"/>
              <a:gd name="connsiteY215" fmla="*/ 6418201 h 6858000"/>
              <a:gd name="connsiteX216" fmla="*/ 10772233 w 12191998"/>
              <a:gd name="connsiteY216" fmla="*/ 6418760 h 6858000"/>
              <a:gd name="connsiteX217" fmla="*/ 10774982 w 12191998"/>
              <a:gd name="connsiteY217" fmla="*/ 6414916 h 6858000"/>
              <a:gd name="connsiteX218" fmla="*/ 10778324 w 12191998"/>
              <a:gd name="connsiteY218" fmla="*/ 6392983 h 6858000"/>
              <a:gd name="connsiteX219" fmla="*/ 10778575 w 12191998"/>
              <a:gd name="connsiteY219" fmla="*/ 6390524 h 6858000"/>
              <a:gd name="connsiteX220" fmla="*/ 10775550 w 12191998"/>
              <a:gd name="connsiteY220" fmla="*/ 6386128 h 6858000"/>
              <a:gd name="connsiteX221" fmla="*/ 10734048 w 12191998"/>
              <a:gd name="connsiteY221" fmla="*/ 6380908 h 6858000"/>
              <a:gd name="connsiteX222" fmla="*/ 10182569 w 12191998"/>
              <a:gd name="connsiteY222" fmla="*/ 6345000 h 6858000"/>
              <a:gd name="connsiteX223" fmla="*/ 10081200 w 12191998"/>
              <a:gd name="connsiteY223" fmla="*/ 6451084 h 6858000"/>
              <a:gd name="connsiteX224" fmla="*/ 10081200 w 12191998"/>
              <a:gd name="connsiteY224" fmla="*/ 6508391 h 6858000"/>
              <a:gd name="connsiteX225" fmla="*/ 10144117 w 12191998"/>
              <a:gd name="connsiteY225" fmla="*/ 6508391 h 6858000"/>
              <a:gd name="connsiteX226" fmla="*/ 10144117 w 12191998"/>
              <a:gd name="connsiteY226" fmla="*/ 6455771 h 6858000"/>
              <a:gd name="connsiteX227" fmla="*/ 10188627 w 12191998"/>
              <a:gd name="connsiteY227" fmla="*/ 6407244 h 6858000"/>
              <a:gd name="connsiteX228" fmla="*/ 10210853 w 12191998"/>
              <a:gd name="connsiteY228" fmla="*/ 6407244 h 6858000"/>
              <a:gd name="connsiteX229" fmla="*/ 10217470 w 12191998"/>
              <a:gd name="connsiteY229" fmla="*/ 6345000 h 6858000"/>
              <a:gd name="connsiteX230" fmla="*/ 0 w 12191998"/>
              <a:gd name="connsiteY230" fmla="*/ 0 h 6858000"/>
              <a:gd name="connsiteX231" fmla="*/ 12191998 w 12191998"/>
              <a:gd name="connsiteY231" fmla="*/ 0 h 6858000"/>
              <a:gd name="connsiteX232" fmla="*/ 12191998 w 12191998"/>
              <a:gd name="connsiteY232" fmla="*/ 6858000 h 6858000"/>
              <a:gd name="connsiteX233" fmla="*/ 0 w 12191998"/>
              <a:gd name="connsiteY23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Lst>
            <a:rect l="l" t="t" r="r" b="b"/>
            <a:pathLst>
              <a:path w="12191998" h="6858000">
                <a:moveTo>
                  <a:pt x="11298788" y="6533358"/>
                </a:moveTo>
                <a:lnTo>
                  <a:pt x="11298788" y="6577748"/>
                </a:lnTo>
                <a:cubicBezTo>
                  <a:pt x="11297151" y="6578323"/>
                  <a:pt x="11288361" y="6580508"/>
                  <a:pt x="11277098" y="6580508"/>
                </a:cubicBezTo>
                <a:cubicBezTo>
                  <a:pt x="11266653" y="6580500"/>
                  <a:pt x="11251296" y="6578315"/>
                  <a:pt x="11251296" y="6559126"/>
                </a:cubicBezTo>
                <a:cubicBezTo>
                  <a:pt x="11251296" y="6541847"/>
                  <a:pt x="11260069" y="6539654"/>
                  <a:pt x="11271583" y="6537753"/>
                </a:cubicBezTo>
                <a:close/>
                <a:moveTo>
                  <a:pt x="10560747" y="6479619"/>
                </a:moveTo>
                <a:cubicBezTo>
                  <a:pt x="10584945" y="6479619"/>
                  <a:pt x="10586349" y="6493888"/>
                  <a:pt x="10586349" y="6528988"/>
                </a:cubicBezTo>
                <a:cubicBezTo>
                  <a:pt x="10586349" y="6563788"/>
                  <a:pt x="10584953" y="6577739"/>
                  <a:pt x="10560747" y="6577739"/>
                </a:cubicBezTo>
                <a:cubicBezTo>
                  <a:pt x="10536608" y="6577739"/>
                  <a:pt x="10535246" y="6563788"/>
                  <a:pt x="10535246" y="6528988"/>
                </a:cubicBezTo>
                <a:cubicBezTo>
                  <a:pt x="10535246" y="6493888"/>
                  <a:pt x="10536617" y="6479619"/>
                  <a:pt x="10560747" y="6479619"/>
                </a:cubicBezTo>
                <a:close/>
                <a:moveTo>
                  <a:pt x="11568237" y="6479077"/>
                </a:moveTo>
                <a:cubicBezTo>
                  <a:pt x="11583069" y="6479077"/>
                  <a:pt x="11589928" y="6484823"/>
                  <a:pt x="11592661" y="6494421"/>
                </a:cubicBezTo>
                <a:cubicBezTo>
                  <a:pt x="11594332" y="6500184"/>
                  <a:pt x="11594332" y="6509499"/>
                  <a:pt x="11594332" y="6515511"/>
                </a:cubicBezTo>
                <a:lnTo>
                  <a:pt x="11594332" y="6519889"/>
                </a:lnTo>
                <a:lnTo>
                  <a:pt x="11542987" y="6519889"/>
                </a:lnTo>
                <a:lnTo>
                  <a:pt x="11542987" y="6517179"/>
                </a:lnTo>
                <a:cubicBezTo>
                  <a:pt x="11542987" y="6512801"/>
                  <a:pt x="11543229" y="6502627"/>
                  <a:pt x="11544357" y="6496340"/>
                </a:cubicBezTo>
                <a:cubicBezTo>
                  <a:pt x="11546505" y="6485899"/>
                  <a:pt x="11552312" y="6479077"/>
                  <a:pt x="11568237" y="6479077"/>
                </a:cubicBezTo>
                <a:close/>
                <a:moveTo>
                  <a:pt x="11720656" y="6460415"/>
                </a:moveTo>
                <a:lnTo>
                  <a:pt x="11725886" y="6460415"/>
                </a:lnTo>
                <a:lnTo>
                  <a:pt x="11733582" y="6487000"/>
                </a:lnTo>
                <a:lnTo>
                  <a:pt x="11712977" y="6487000"/>
                </a:lnTo>
                <a:close/>
                <a:moveTo>
                  <a:pt x="11710245" y="6450024"/>
                </a:moveTo>
                <a:cubicBezTo>
                  <a:pt x="11709668" y="6450024"/>
                  <a:pt x="11709417" y="6450533"/>
                  <a:pt x="11709167" y="6450850"/>
                </a:cubicBezTo>
                <a:lnTo>
                  <a:pt x="11687317" y="6515787"/>
                </a:lnTo>
                <a:cubicBezTo>
                  <a:pt x="11687317" y="6515787"/>
                  <a:pt x="11687033" y="6516646"/>
                  <a:pt x="11687033" y="6516896"/>
                </a:cubicBezTo>
                <a:cubicBezTo>
                  <a:pt x="11687033" y="6517180"/>
                  <a:pt x="11687317" y="6517455"/>
                  <a:pt x="11687827" y="6517455"/>
                </a:cubicBezTo>
                <a:lnTo>
                  <a:pt x="11703886" y="6517455"/>
                </a:lnTo>
                <a:cubicBezTo>
                  <a:pt x="11704488" y="6517455"/>
                  <a:pt x="11704747" y="6516896"/>
                  <a:pt x="11705014" y="6516329"/>
                </a:cubicBezTo>
                <a:lnTo>
                  <a:pt x="11709977" y="6497716"/>
                </a:lnTo>
                <a:lnTo>
                  <a:pt x="11736581" y="6497716"/>
                </a:lnTo>
                <a:lnTo>
                  <a:pt x="11741528" y="6516329"/>
                </a:lnTo>
                <a:cubicBezTo>
                  <a:pt x="11741779" y="6516905"/>
                  <a:pt x="11742113" y="6517455"/>
                  <a:pt x="11742656" y="6517455"/>
                </a:cubicBezTo>
                <a:lnTo>
                  <a:pt x="11757763" y="6517455"/>
                </a:lnTo>
                <a:cubicBezTo>
                  <a:pt x="11758272" y="6517455"/>
                  <a:pt x="11758573" y="6517188"/>
                  <a:pt x="11758573" y="6516896"/>
                </a:cubicBezTo>
                <a:cubicBezTo>
                  <a:pt x="11758573" y="6516646"/>
                  <a:pt x="11758272" y="6515787"/>
                  <a:pt x="11758272" y="6515787"/>
                </a:cubicBezTo>
                <a:lnTo>
                  <a:pt x="11737442" y="6450850"/>
                </a:lnTo>
                <a:cubicBezTo>
                  <a:pt x="11737158" y="6450533"/>
                  <a:pt x="11736581" y="6450024"/>
                  <a:pt x="11736314" y="6450024"/>
                </a:cubicBezTo>
                <a:close/>
                <a:moveTo>
                  <a:pt x="10188067" y="6449732"/>
                </a:moveTo>
                <a:lnTo>
                  <a:pt x="10188067" y="6496048"/>
                </a:lnTo>
                <a:cubicBezTo>
                  <a:pt x="10188067" y="6528438"/>
                  <a:pt x="10174898" y="6547343"/>
                  <a:pt x="10143574" y="6547343"/>
                </a:cubicBezTo>
                <a:lnTo>
                  <a:pt x="10120796" y="6547343"/>
                </a:lnTo>
                <a:lnTo>
                  <a:pt x="10114179" y="6609537"/>
                </a:lnTo>
                <a:lnTo>
                  <a:pt x="10146874" y="6609537"/>
                </a:lnTo>
                <a:cubicBezTo>
                  <a:pt x="10205104" y="6609537"/>
                  <a:pt x="10250959" y="6567341"/>
                  <a:pt x="10250959" y="6500735"/>
                </a:cubicBezTo>
                <a:lnTo>
                  <a:pt x="10250959" y="6449732"/>
                </a:lnTo>
                <a:close/>
                <a:moveTo>
                  <a:pt x="11804146" y="6448589"/>
                </a:moveTo>
                <a:cubicBezTo>
                  <a:pt x="11779999" y="6448623"/>
                  <a:pt x="11769822" y="6457988"/>
                  <a:pt x="11769822" y="6483747"/>
                </a:cubicBezTo>
                <a:cubicBezTo>
                  <a:pt x="11769822" y="6508931"/>
                  <a:pt x="11778060" y="6518563"/>
                  <a:pt x="11805809" y="6518563"/>
                </a:cubicBezTo>
                <a:cubicBezTo>
                  <a:pt x="11812677" y="6518563"/>
                  <a:pt x="11820916" y="6517454"/>
                  <a:pt x="11825035" y="6516645"/>
                </a:cubicBezTo>
                <a:lnTo>
                  <a:pt x="11824792" y="6516645"/>
                </a:lnTo>
                <a:cubicBezTo>
                  <a:pt x="11829739" y="6515294"/>
                  <a:pt x="11830800" y="6513343"/>
                  <a:pt x="11830800" y="6508698"/>
                </a:cubicBezTo>
                <a:lnTo>
                  <a:pt x="11830800" y="6480678"/>
                </a:lnTo>
                <a:cubicBezTo>
                  <a:pt x="11830800" y="6479886"/>
                  <a:pt x="11830516" y="6479619"/>
                  <a:pt x="11829730" y="6479619"/>
                </a:cubicBezTo>
                <a:lnTo>
                  <a:pt x="11804146" y="6479619"/>
                </a:lnTo>
                <a:cubicBezTo>
                  <a:pt x="11803302" y="6479619"/>
                  <a:pt x="11803068" y="6479886"/>
                  <a:pt x="11803068" y="6480678"/>
                </a:cubicBezTo>
                <a:lnTo>
                  <a:pt x="11803068" y="6488917"/>
                </a:lnTo>
                <a:cubicBezTo>
                  <a:pt x="11803068" y="6490026"/>
                  <a:pt x="11803879" y="6490310"/>
                  <a:pt x="11804146" y="6490310"/>
                </a:cubicBezTo>
                <a:lnTo>
                  <a:pt x="11815134" y="6491403"/>
                </a:lnTo>
                <a:lnTo>
                  <a:pt x="11815134" y="6507572"/>
                </a:lnTo>
                <a:cubicBezTo>
                  <a:pt x="11815134" y="6507572"/>
                  <a:pt x="11810463" y="6507856"/>
                  <a:pt x="11806327" y="6507856"/>
                </a:cubicBezTo>
                <a:cubicBezTo>
                  <a:pt x="11793451" y="6507856"/>
                  <a:pt x="11786575" y="6504270"/>
                  <a:pt x="11786575" y="6484273"/>
                </a:cubicBezTo>
                <a:cubicBezTo>
                  <a:pt x="11786575" y="6463466"/>
                  <a:pt x="11793986" y="6460147"/>
                  <a:pt x="11808249" y="6460147"/>
                </a:cubicBezTo>
                <a:cubicBezTo>
                  <a:pt x="11814323" y="6460147"/>
                  <a:pt x="11820631" y="6461223"/>
                  <a:pt x="11824784" y="6462049"/>
                </a:cubicBezTo>
                <a:cubicBezTo>
                  <a:pt x="11825018" y="6462299"/>
                  <a:pt x="11825595" y="6462299"/>
                  <a:pt x="11826138" y="6462299"/>
                </a:cubicBezTo>
                <a:cubicBezTo>
                  <a:pt x="11826138" y="6462299"/>
                  <a:pt x="11827508" y="6462566"/>
                  <a:pt x="11828335" y="6462566"/>
                </a:cubicBezTo>
                <a:cubicBezTo>
                  <a:pt x="11829162" y="6462566"/>
                  <a:pt x="11829404" y="6462040"/>
                  <a:pt x="11829730" y="6460689"/>
                </a:cubicBezTo>
                <a:lnTo>
                  <a:pt x="11830508" y="6456278"/>
                </a:lnTo>
                <a:cubicBezTo>
                  <a:pt x="11830792" y="6455469"/>
                  <a:pt x="11830792" y="6454360"/>
                  <a:pt x="11830792" y="6454101"/>
                </a:cubicBezTo>
                <a:cubicBezTo>
                  <a:pt x="11830792" y="6453276"/>
                  <a:pt x="11829981" y="6453009"/>
                  <a:pt x="11829396" y="6452434"/>
                </a:cubicBezTo>
                <a:cubicBezTo>
                  <a:pt x="11827215" y="6451625"/>
                  <a:pt x="11817615" y="6448589"/>
                  <a:pt x="11804146" y="6448589"/>
                </a:cubicBezTo>
                <a:close/>
                <a:moveTo>
                  <a:pt x="11468798" y="6446454"/>
                </a:moveTo>
                <a:cubicBezTo>
                  <a:pt x="11449831" y="6446454"/>
                  <a:pt x="11429544" y="6448631"/>
                  <a:pt x="11414988" y="6451917"/>
                </a:cubicBezTo>
                <a:cubicBezTo>
                  <a:pt x="11397366" y="6455769"/>
                  <a:pt x="11388050" y="6459055"/>
                  <a:pt x="11388050" y="6469487"/>
                </a:cubicBezTo>
                <a:lnTo>
                  <a:pt x="11388050" y="6603823"/>
                </a:lnTo>
                <a:cubicBezTo>
                  <a:pt x="11388050" y="6606017"/>
                  <a:pt x="11389704" y="6607676"/>
                  <a:pt x="11391919" y="6607676"/>
                </a:cubicBezTo>
                <a:lnTo>
                  <a:pt x="11436086" y="6607676"/>
                </a:lnTo>
                <a:cubicBezTo>
                  <a:pt x="11438300" y="6607676"/>
                  <a:pt x="11439963" y="6606008"/>
                  <a:pt x="11439963" y="6603823"/>
                </a:cubicBezTo>
                <a:lnTo>
                  <a:pt x="11439963" y="6485899"/>
                </a:lnTo>
                <a:cubicBezTo>
                  <a:pt x="11442712" y="6485340"/>
                  <a:pt x="11457259" y="6483455"/>
                  <a:pt x="11474847" y="6483455"/>
                </a:cubicBezTo>
                <a:cubicBezTo>
                  <a:pt x="11480345" y="6483455"/>
                  <a:pt x="11480345" y="6480428"/>
                  <a:pt x="11480345" y="6477109"/>
                </a:cubicBezTo>
                <a:lnTo>
                  <a:pt x="11480345" y="6452750"/>
                </a:lnTo>
                <a:cubicBezTo>
                  <a:pt x="11480345" y="6448055"/>
                  <a:pt x="11478139" y="6446454"/>
                  <a:pt x="11474003" y="6446454"/>
                </a:cubicBezTo>
                <a:close/>
                <a:moveTo>
                  <a:pt x="10401190" y="6445921"/>
                </a:moveTo>
                <a:cubicBezTo>
                  <a:pt x="10374854" y="6445912"/>
                  <a:pt x="10335023" y="6450273"/>
                  <a:pt x="10335023" y="6496039"/>
                </a:cubicBezTo>
                <a:cubicBezTo>
                  <a:pt x="10335023" y="6536076"/>
                  <a:pt x="10361911" y="6541838"/>
                  <a:pt x="10382516" y="6545666"/>
                </a:cubicBezTo>
                <a:lnTo>
                  <a:pt x="10385549" y="6546191"/>
                </a:lnTo>
                <a:cubicBezTo>
                  <a:pt x="10399811" y="6548985"/>
                  <a:pt x="10406153" y="6550603"/>
                  <a:pt x="10406153" y="6563203"/>
                </a:cubicBezTo>
                <a:cubicBezTo>
                  <a:pt x="10406153" y="6575562"/>
                  <a:pt x="10395149" y="6578581"/>
                  <a:pt x="10384972" y="6578581"/>
                </a:cubicBezTo>
                <a:cubicBezTo>
                  <a:pt x="10369339" y="6578581"/>
                  <a:pt x="10350656" y="6574169"/>
                  <a:pt x="10343504" y="6572285"/>
                </a:cubicBezTo>
                <a:lnTo>
                  <a:pt x="10343771" y="6572285"/>
                </a:lnTo>
                <a:cubicBezTo>
                  <a:pt x="10343504" y="6572285"/>
                  <a:pt x="10343211" y="6572034"/>
                  <a:pt x="10342961" y="6572034"/>
                </a:cubicBezTo>
                <a:cubicBezTo>
                  <a:pt x="10341866" y="6571734"/>
                  <a:pt x="10340763" y="6571459"/>
                  <a:pt x="10339936" y="6571459"/>
                </a:cubicBezTo>
                <a:cubicBezTo>
                  <a:pt x="10338583" y="6571459"/>
                  <a:pt x="10337187" y="6572535"/>
                  <a:pt x="10336886" y="6575304"/>
                </a:cubicBezTo>
                <a:lnTo>
                  <a:pt x="10333628" y="6594759"/>
                </a:lnTo>
                <a:cubicBezTo>
                  <a:pt x="10333344" y="6596143"/>
                  <a:pt x="10333068" y="6598028"/>
                  <a:pt x="10333068" y="6598854"/>
                </a:cubicBezTo>
                <a:cubicBezTo>
                  <a:pt x="10333068" y="6600772"/>
                  <a:pt x="10333878" y="6601597"/>
                  <a:pt x="10336076" y="6602698"/>
                </a:cubicBezTo>
                <a:cubicBezTo>
                  <a:pt x="10342150" y="6605208"/>
                  <a:pt x="10366841" y="6611237"/>
                  <a:pt x="10392408" y="6611237"/>
                </a:cubicBezTo>
                <a:cubicBezTo>
                  <a:pt x="10430033" y="6611237"/>
                  <a:pt x="10458567" y="6598036"/>
                  <a:pt x="10458567" y="6558867"/>
                </a:cubicBezTo>
                <a:cubicBezTo>
                  <a:pt x="10458567" y="6521307"/>
                  <a:pt x="10436341" y="6514177"/>
                  <a:pt x="10414935" y="6510324"/>
                </a:cubicBezTo>
                <a:lnTo>
                  <a:pt x="10410481" y="6509516"/>
                </a:lnTo>
                <a:cubicBezTo>
                  <a:pt x="10398174" y="6507322"/>
                  <a:pt x="10387429" y="6505121"/>
                  <a:pt x="10387429" y="6492487"/>
                </a:cubicBezTo>
                <a:cubicBezTo>
                  <a:pt x="10387429" y="6479903"/>
                  <a:pt x="10400355" y="6478285"/>
                  <a:pt x="10409437" y="6478285"/>
                </a:cubicBezTo>
                <a:cubicBezTo>
                  <a:pt x="10421235" y="6478285"/>
                  <a:pt x="10433860" y="6480445"/>
                  <a:pt x="10440202" y="6481821"/>
                </a:cubicBezTo>
                <a:cubicBezTo>
                  <a:pt x="10443745" y="6482663"/>
                  <a:pt x="10444588" y="6482663"/>
                  <a:pt x="10445674" y="6482663"/>
                </a:cubicBezTo>
                <a:cubicBezTo>
                  <a:pt x="10447070" y="6482663"/>
                  <a:pt x="10448950" y="6481270"/>
                  <a:pt x="10449526" y="6479903"/>
                </a:cubicBezTo>
                <a:cubicBezTo>
                  <a:pt x="10450638" y="6473315"/>
                  <a:pt x="10452292" y="6466493"/>
                  <a:pt x="10453378" y="6459872"/>
                </a:cubicBezTo>
                <a:cubicBezTo>
                  <a:pt x="10453378" y="6459872"/>
                  <a:pt x="10453646" y="6458504"/>
                  <a:pt x="10453646" y="6457696"/>
                </a:cubicBezTo>
                <a:cubicBezTo>
                  <a:pt x="10453646" y="6454393"/>
                  <a:pt x="10452292" y="6453042"/>
                  <a:pt x="10447889" y="6451916"/>
                </a:cubicBezTo>
                <a:cubicBezTo>
                  <a:pt x="10439366" y="6449723"/>
                  <a:pt x="10422355" y="6445921"/>
                  <a:pt x="10401190" y="6445921"/>
                </a:cubicBezTo>
                <a:close/>
                <a:moveTo>
                  <a:pt x="11568246" y="6445912"/>
                </a:moveTo>
                <a:cubicBezTo>
                  <a:pt x="11509991" y="6445912"/>
                  <a:pt x="11489963" y="6468637"/>
                  <a:pt x="11489963" y="6529780"/>
                </a:cubicBezTo>
                <a:cubicBezTo>
                  <a:pt x="11489963" y="6591214"/>
                  <a:pt x="11517695" y="6611495"/>
                  <a:pt x="11576752" y="6611495"/>
                </a:cubicBezTo>
                <a:cubicBezTo>
                  <a:pt x="11603130" y="6611495"/>
                  <a:pt x="11623417" y="6604891"/>
                  <a:pt x="11633068" y="6601597"/>
                </a:cubicBezTo>
                <a:cubicBezTo>
                  <a:pt x="11636076" y="6600529"/>
                  <a:pt x="11637187" y="6598311"/>
                  <a:pt x="11637187" y="6596410"/>
                </a:cubicBezTo>
                <a:cubicBezTo>
                  <a:pt x="11637187" y="6595851"/>
                  <a:pt x="11637187" y="6595317"/>
                  <a:pt x="11636936" y="6594200"/>
                </a:cubicBezTo>
                <a:lnTo>
                  <a:pt x="11632533" y="6576112"/>
                </a:lnTo>
                <a:lnTo>
                  <a:pt x="11632533" y="6576379"/>
                </a:lnTo>
                <a:cubicBezTo>
                  <a:pt x="11631438" y="6572543"/>
                  <a:pt x="11629767" y="6571726"/>
                  <a:pt x="11627570" y="6571726"/>
                </a:cubicBezTo>
                <a:cubicBezTo>
                  <a:pt x="11626442" y="6571726"/>
                  <a:pt x="11625071" y="6572026"/>
                  <a:pt x="11623994" y="6572284"/>
                </a:cubicBezTo>
                <a:lnTo>
                  <a:pt x="11624278" y="6572284"/>
                </a:lnTo>
                <a:cubicBezTo>
                  <a:pt x="11616549" y="6574478"/>
                  <a:pt x="11602303" y="6578580"/>
                  <a:pt x="11586085" y="6578580"/>
                </a:cubicBezTo>
                <a:cubicBezTo>
                  <a:pt x="11572632" y="6578580"/>
                  <a:pt x="11563266" y="6577488"/>
                  <a:pt x="11556398" y="6573886"/>
                </a:cubicBezTo>
                <a:cubicBezTo>
                  <a:pt x="11548460" y="6569808"/>
                  <a:pt x="11543505" y="6561585"/>
                  <a:pt x="11543505" y="6549260"/>
                </a:cubicBezTo>
                <a:lnTo>
                  <a:pt x="11636936" y="6549260"/>
                </a:lnTo>
                <a:cubicBezTo>
                  <a:pt x="11643220" y="6549260"/>
                  <a:pt x="11644331" y="6544865"/>
                  <a:pt x="11644331" y="6540754"/>
                </a:cubicBezTo>
                <a:lnTo>
                  <a:pt x="11644331" y="6526210"/>
                </a:lnTo>
                <a:cubicBezTo>
                  <a:pt x="11644331" y="6498800"/>
                  <a:pt x="11639643" y="6477710"/>
                  <a:pt x="11628397" y="6464525"/>
                </a:cubicBezTo>
                <a:cubicBezTo>
                  <a:pt x="11616549" y="6453034"/>
                  <a:pt x="11596805" y="6445912"/>
                  <a:pt x="11568246" y="6445912"/>
                </a:cubicBezTo>
                <a:close/>
                <a:moveTo>
                  <a:pt x="10560747" y="6445912"/>
                </a:moveTo>
                <a:cubicBezTo>
                  <a:pt x="10491547" y="6445912"/>
                  <a:pt x="10482214" y="6482096"/>
                  <a:pt x="10482214" y="6528988"/>
                </a:cubicBezTo>
                <a:cubicBezTo>
                  <a:pt x="10482214" y="6575563"/>
                  <a:pt x="10491547" y="6611496"/>
                  <a:pt x="10560747" y="6611496"/>
                </a:cubicBezTo>
                <a:cubicBezTo>
                  <a:pt x="10629998" y="6611496"/>
                  <a:pt x="10639314" y="6575571"/>
                  <a:pt x="10639314" y="6528988"/>
                </a:cubicBezTo>
                <a:cubicBezTo>
                  <a:pt x="10639314" y="6482096"/>
                  <a:pt x="10629998" y="6445912"/>
                  <a:pt x="10560747" y="6445912"/>
                </a:cubicBezTo>
                <a:close/>
                <a:moveTo>
                  <a:pt x="11283665" y="6445904"/>
                </a:moveTo>
                <a:cubicBezTo>
                  <a:pt x="11250736" y="6445912"/>
                  <a:pt x="11221300" y="6454669"/>
                  <a:pt x="11215576" y="6457112"/>
                </a:cubicBezTo>
                <a:cubicBezTo>
                  <a:pt x="11213654" y="6457988"/>
                  <a:pt x="11211716" y="6459047"/>
                  <a:pt x="11211716" y="6461240"/>
                </a:cubicBezTo>
                <a:lnTo>
                  <a:pt x="11211716" y="6462316"/>
                </a:lnTo>
                <a:cubicBezTo>
                  <a:pt x="11211716" y="6462583"/>
                  <a:pt x="11212000" y="6462875"/>
                  <a:pt x="11212000" y="6463158"/>
                </a:cubicBezTo>
                <a:lnTo>
                  <a:pt x="11217197" y="6485899"/>
                </a:lnTo>
                <a:cubicBezTo>
                  <a:pt x="11217481" y="6487534"/>
                  <a:pt x="11218567" y="6488109"/>
                  <a:pt x="11219979" y="6488109"/>
                </a:cubicBezTo>
                <a:cubicBezTo>
                  <a:pt x="11220523" y="6488109"/>
                  <a:pt x="11221300" y="6488109"/>
                  <a:pt x="11222177" y="6487826"/>
                </a:cubicBezTo>
                <a:cubicBezTo>
                  <a:pt x="11228761" y="6485907"/>
                  <a:pt x="11252925" y="6479620"/>
                  <a:pt x="11271884" y="6479620"/>
                </a:cubicBezTo>
                <a:cubicBezTo>
                  <a:pt x="11281217" y="6479620"/>
                  <a:pt x="11288361" y="6480429"/>
                  <a:pt x="11292171" y="6482330"/>
                </a:cubicBezTo>
                <a:cubicBezTo>
                  <a:pt x="11297978" y="6485107"/>
                  <a:pt x="11298788" y="6490027"/>
                  <a:pt x="11298788" y="6497974"/>
                </a:cubicBezTo>
                <a:lnTo>
                  <a:pt x="11298788" y="6504829"/>
                </a:lnTo>
                <a:lnTo>
                  <a:pt x="11246893" y="6513068"/>
                </a:lnTo>
                <a:cubicBezTo>
                  <a:pt x="11227132" y="6516054"/>
                  <a:pt x="11201564" y="6522100"/>
                  <a:pt x="11201564" y="6559626"/>
                </a:cubicBezTo>
                <a:cubicBezTo>
                  <a:pt x="11201564" y="6606284"/>
                  <a:pt x="11238896" y="6611488"/>
                  <a:pt x="11276245" y="6611488"/>
                </a:cubicBezTo>
                <a:cubicBezTo>
                  <a:pt x="11294134" y="6611488"/>
                  <a:pt x="11308430" y="6610379"/>
                  <a:pt x="11320462" y="6607661"/>
                </a:cubicBezTo>
                <a:cubicBezTo>
                  <a:pt x="11340257" y="6602982"/>
                  <a:pt x="11350467" y="6599138"/>
                  <a:pt x="11350467" y="6576096"/>
                </a:cubicBezTo>
                <a:lnTo>
                  <a:pt x="11350467" y="6493304"/>
                </a:lnTo>
                <a:cubicBezTo>
                  <a:pt x="11350467" y="6476309"/>
                  <a:pt x="11345203" y="6463150"/>
                  <a:pt x="11330639" y="6454936"/>
                </a:cubicBezTo>
                <a:cubicBezTo>
                  <a:pt x="11319953" y="6448906"/>
                  <a:pt x="11304863" y="6445904"/>
                  <a:pt x="11283665" y="6445904"/>
                </a:cubicBezTo>
                <a:close/>
                <a:moveTo>
                  <a:pt x="10734048" y="6380908"/>
                </a:moveTo>
                <a:cubicBezTo>
                  <a:pt x="10697568" y="6380908"/>
                  <a:pt x="10680815" y="6397370"/>
                  <a:pt x="10680815" y="6429993"/>
                </a:cubicBezTo>
                <a:lnTo>
                  <a:pt x="10680815" y="6449715"/>
                </a:lnTo>
                <a:lnTo>
                  <a:pt x="10657453" y="6449715"/>
                </a:lnTo>
                <a:cubicBezTo>
                  <a:pt x="10655256" y="6449715"/>
                  <a:pt x="10653593" y="6451350"/>
                  <a:pt x="10653593" y="6453560"/>
                </a:cubicBezTo>
                <a:lnTo>
                  <a:pt x="10653593" y="6481805"/>
                </a:lnTo>
                <a:cubicBezTo>
                  <a:pt x="10653593" y="6484015"/>
                  <a:pt x="10655264" y="6485658"/>
                  <a:pt x="10657453" y="6485658"/>
                </a:cubicBezTo>
                <a:lnTo>
                  <a:pt x="10680815" y="6485658"/>
                </a:lnTo>
                <a:lnTo>
                  <a:pt x="10680815" y="6603808"/>
                </a:lnTo>
                <a:cubicBezTo>
                  <a:pt x="10680815" y="6606001"/>
                  <a:pt x="10682453" y="6607661"/>
                  <a:pt x="10684650" y="6607661"/>
                </a:cubicBezTo>
                <a:lnTo>
                  <a:pt x="10729152" y="6607661"/>
                </a:lnTo>
                <a:cubicBezTo>
                  <a:pt x="10731333" y="6607661"/>
                  <a:pt x="10732987" y="6605993"/>
                  <a:pt x="10732987" y="6603808"/>
                </a:cubicBezTo>
                <a:lnTo>
                  <a:pt x="10732987" y="6485666"/>
                </a:lnTo>
                <a:lnTo>
                  <a:pt x="10803875" y="6485666"/>
                </a:lnTo>
                <a:lnTo>
                  <a:pt x="10803875" y="6559126"/>
                </a:lnTo>
                <a:cubicBezTo>
                  <a:pt x="10803875" y="6596686"/>
                  <a:pt x="10822825" y="6610112"/>
                  <a:pt x="10860191" y="6610112"/>
                </a:cubicBezTo>
                <a:cubicBezTo>
                  <a:pt x="10881289" y="6610112"/>
                  <a:pt x="10895334" y="6605718"/>
                  <a:pt x="10898610" y="6604608"/>
                </a:cubicBezTo>
                <a:cubicBezTo>
                  <a:pt x="10901618" y="6603516"/>
                  <a:pt x="10902746" y="6602148"/>
                  <a:pt x="10902746" y="6599688"/>
                </a:cubicBezTo>
                <a:cubicBezTo>
                  <a:pt x="10902746" y="6598596"/>
                  <a:pt x="10902495" y="6597228"/>
                  <a:pt x="10902495" y="6597228"/>
                </a:cubicBezTo>
                <a:lnTo>
                  <a:pt x="10898342" y="6575563"/>
                </a:lnTo>
                <a:cubicBezTo>
                  <a:pt x="10897799" y="6573086"/>
                  <a:pt x="10896705" y="6572277"/>
                  <a:pt x="10895050" y="6572277"/>
                </a:cubicBezTo>
                <a:cubicBezTo>
                  <a:pt x="10894800" y="6572277"/>
                  <a:pt x="10893939" y="6572277"/>
                  <a:pt x="10892869" y="6572527"/>
                </a:cubicBezTo>
                <a:cubicBezTo>
                  <a:pt x="10892585" y="6572527"/>
                  <a:pt x="10892026" y="6572811"/>
                  <a:pt x="10891482" y="6572811"/>
                </a:cubicBezTo>
                <a:cubicBezTo>
                  <a:pt x="10887890" y="6573353"/>
                  <a:pt x="10881565" y="6574162"/>
                  <a:pt x="10874170" y="6574162"/>
                </a:cubicBezTo>
                <a:cubicBezTo>
                  <a:pt x="10858219" y="6574162"/>
                  <a:pt x="10855487" y="6566782"/>
                  <a:pt x="10855487" y="6555799"/>
                </a:cubicBezTo>
                <a:lnTo>
                  <a:pt x="10855487" y="6485891"/>
                </a:lnTo>
                <a:lnTo>
                  <a:pt x="10933761" y="6485891"/>
                </a:lnTo>
                <a:lnTo>
                  <a:pt x="10933761" y="6588722"/>
                </a:lnTo>
                <a:cubicBezTo>
                  <a:pt x="10933761" y="6598829"/>
                  <a:pt x="10943111" y="6602132"/>
                  <a:pt x="10960139" y="6605985"/>
                </a:cubicBezTo>
                <a:cubicBezTo>
                  <a:pt x="10973308" y="6608711"/>
                  <a:pt x="10992525" y="6611730"/>
                  <a:pt x="11007123" y="6611730"/>
                </a:cubicBezTo>
                <a:cubicBezTo>
                  <a:pt x="11025229" y="6611730"/>
                  <a:pt x="11043904" y="6608428"/>
                  <a:pt x="11057673" y="6598004"/>
                </a:cubicBezTo>
                <a:cubicBezTo>
                  <a:pt x="11076273" y="6608720"/>
                  <a:pt x="11096936" y="6611730"/>
                  <a:pt x="11116396" y="6611730"/>
                </a:cubicBezTo>
                <a:cubicBezTo>
                  <a:pt x="11153202" y="6611730"/>
                  <a:pt x="11178218" y="6602974"/>
                  <a:pt x="11178218" y="6566215"/>
                </a:cubicBezTo>
                <a:lnTo>
                  <a:pt x="11178218" y="6453560"/>
                </a:lnTo>
                <a:cubicBezTo>
                  <a:pt x="11178218" y="6451350"/>
                  <a:pt x="11176564" y="6449715"/>
                  <a:pt x="11174400" y="6449715"/>
                </a:cubicBezTo>
                <a:lnTo>
                  <a:pt x="11130149" y="6449715"/>
                </a:lnTo>
                <a:cubicBezTo>
                  <a:pt x="11127968" y="6449715"/>
                  <a:pt x="11126297" y="6451350"/>
                  <a:pt x="11126297" y="6453560"/>
                </a:cubicBezTo>
                <a:lnTo>
                  <a:pt x="11126297" y="6558851"/>
                </a:lnTo>
                <a:cubicBezTo>
                  <a:pt x="11126297" y="6575021"/>
                  <a:pt x="11116387" y="6579941"/>
                  <a:pt x="11103796" y="6579941"/>
                </a:cubicBezTo>
                <a:cubicBezTo>
                  <a:pt x="11093903" y="6579941"/>
                  <a:pt x="11082063" y="6576897"/>
                  <a:pt x="11082063" y="6576897"/>
                </a:cubicBezTo>
                <a:lnTo>
                  <a:pt x="11082063" y="6453560"/>
                </a:lnTo>
                <a:cubicBezTo>
                  <a:pt x="11082063" y="6451350"/>
                  <a:pt x="11080425" y="6449715"/>
                  <a:pt x="11078228" y="6449715"/>
                </a:cubicBezTo>
                <a:lnTo>
                  <a:pt x="11034027" y="6449715"/>
                </a:lnTo>
                <a:cubicBezTo>
                  <a:pt x="11031846" y="6449715"/>
                  <a:pt x="11030175" y="6451350"/>
                  <a:pt x="11030175" y="6453560"/>
                </a:cubicBezTo>
                <a:lnTo>
                  <a:pt x="11030175" y="6558851"/>
                </a:lnTo>
                <a:cubicBezTo>
                  <a:pt x="11030175" y="6575021"/>
                  <a:pt x="11023574" y="6579941"/>
                  <a:pt x="11011492" y="6579941"/>
                </a:cubicBezTo>
                <a:cubicBezTo>
                  <a:pt x="11000756" y="6579941"/>
                  <a:pt x="10985674" y="6577197"/>
                  <a:pt x="10985674" y="6577197"/>
                </a:cubicBezTo>
                <a:lnTo>
                  <a:pt x="10985674" y="6453560"/>
                </a:lnTo>
                <a:cubicBezTo>
                  <a:pt x="10985674" y="6451350"/>
                  <a:pt x="10984003" y="6449715"/>
                  <a:pt x="10981855" y="6449715"/>
                </a:cubicBezTo>
                <a:lnTo>
                  <a:pt x="10855478" y="6449715"/>
                </a:lnTo>
                <a:lnTo>
                  <a:pt x="10855478" y="6400922"/>
                </a:lnTo>
                <a:cubicBezTo>
                  <a:pt x="10855478" y="6397370"/>
                  <a:pt x="10853573" y="6395735"/>
                  <a:pt x="10850532" y="6395735"/>
                </a:cubicBezTo>
                <a:cubicBezTo>
                  <a:pt x="10850022" y="6395735"/>
                  <a:pt x="10848627" y="6395986"/>
                  <a:pt x="10847257" y="6396277"/>
                </a:cubicBezTo>
                <a:lnTo>
                  <a:pt x="10809315" y="6402866"/>
                </a:lnTo>
                <a:cubicBezTo>
                  <a:pt x="10805755" y="6403674"/>
                  <a:pt x="10803858" y="6406151"/>
                  <a:pt x="10803858" y="6410529"/>
                </a:cubicBezTo>
                <a:lnTo>
                  <a:pt x="10803858" y="6449724"/>
                </a:lnTo>
                <a:lnTo>
                  <a:pt x="10732979" y="6449724"/>
                </a:lnTo>
                <a:lnTo>
                  <a:pt x="10732979" y="6432470"/>
                </a:lnTo>
                <a:cubicBezTo>
                  <a:pt x="10732979" y="6426741"/>
                  <a:pt x="10733823" y="6422888"/>
                  <a:pt x="10736822" y="6420119"/>
                </a:cubicBezTo>
                <a:cubicBezTo>
                  <a:pt x="10740164" y="6417376"/>
                  <a:pt x="10744234" y="6416583"/>
                  <a:pt x="10751403" y="6416583"/>
                </a:cubicBezTo>
                <a:cubicBezTo>
                  <a:pt x="10756048" y="6416583"/>
                  <a:pt x="10762916" y="6417376"/>
                  <a:pt x="10766493" y="6417934"/>
                </a:cubicBezTo>
                <a:cubicBezTo>
                  <a:pt x="10767036" y="6417934"/>
                  <a:pt x="10767604" y="6418201"/>
                  <a:pt x="10768415" y="6418201"/>
                </a:cubicBezTo>
                <a:cubicBezTo>
                  <a:pt x="10769801" y="6418468"/>
                  <a:pt x="10771448" y="6418760"/>
                  <a:pt x="10772233" y="6418760"/>
                </a:cubicBezTo>
                <a:cubicBezTo>
                  <a:pt x="10774205" y="6418760"/>
                  <a:pt x="10774764" y="6417376"/>
                  <a:pt x="10774982" y="6414916"/>
                </a:cubicBezTo>
                <a:lnTo>
                  <a:pt x="10778324" y="6392983"/>
                </a:lnTo>
                <a:cubicBezTo>
                  <a:pt x="10778324" y="6392983"/>
                  <a:pt x="10778575" y="6391332"/>
                  <a:pt x="10778575" y="6390524"/>
                </a:cubicBezTo>
                <a:cubicBezTo>
                  <a:pt x="10778575" y="6388347"/>
                  <a:pt x="10777764" y="6386954"/>
                  <a:pt x="10775550" y="6386128"/>
                </a:cubicBezTo>
                <a:cubicBezTo>
                  <a:pt x="10771690" y="6385053"/>
                  <a:pt x="10757444" y="6380908"/>
                  <a:pt x="10734048" y="6380908"/>
                </a:cubicBezTo>
                <a:close/>
                <a:moveTo>
                  <a:pt x="10182569" y="6345000"/>
                </a:moveTo>
                <a:cubicBezTo>
                  <a:pt x="10121591" y="6345000"/>
                  <a:pt x="10081200" y="6389974"/>
                  <a:pt x="10081200" y="6451084"/>
                </a:cubicBezTo>
                <a:lnTo>
                  <a:pt x="10081200" y="6508391"/>
                </a:lnTo>
                <a:lnTo>
                  <a:pt x="10144117" y="6508391"/>
                </a:lnTo>
                <a:lnTo>
                  <a:pt x="10144117" y="6455771"/>
                </a:lnTo>
                <a:cubicBezTo>
                  <a:pt x="10144117" y="6422889"/>
                  <a:pt x="10157870" y="6407244"/>
                  <a:pt x="10188627" y="6407244"/>
                </a:cubicBezTo>
                <a:lnTo>
                  <a:pt x="10210853" y="6407244"/>
                </a:lnTo>
                <a:lnTo>
                  <a:pt x="10217470" y="6345000"/>
                </a:lnTo>
                <a:close/>
                <a:moveTo>
                  <a:pt x="0" y="0"/>
                </a:moveTo>
                <a:lnTo>
                  <a:pt x="12191998" y="0"/>
                </a:lnTo>
                <a:lnTo>
                  <a:pt x="12191998" y="6858000"/>
                </a:lnTo>
                <a:lnTo>
                  <a:pt x="0" y="6858000"/>
                </a:lnTo>
                <a:close/>
              </a:path>
            </a:pathLst>
          </a:custGeom>
          <a:pattFill prst="wdUpDiag">
            <a:fgClr>
              <a:schemeClr val="bg2"/>
            </a:fgClr>
            <a:bgClr>
              <a:schemeClr val="bg1"/>
            </a:bgClr>
          </a:pattFill>
        </p:spPr>
        <p:txBody>
          <a:bodyPr vert="horz" wrap="square" lIns="0" tIns="0" rIns="0" bIns="583200" rtlCol="0" anchor="ctr" anchorCtr="1">
            <a:noAutofit/>
          </a:bodyPr>
          <a:lstStyle>
            <a:lvl1pPr>
              <a:defRPr lang="en-US" baseline="0" dirty="0"/>
            </a:lvl1pPr>
          </a:lstStyle>
          <a:p>
            <a:pPr lvl="0"/>
            <a:r>
              <a:rPr lang="en-US" dirty="0"/>
              <a:t>Click to add image</a:t>
            </a:r>
          </a:p>
        </p:txBody>
      </p:sp>
      <p:sp>
        <p:nvSpPr>
          <p:cNvPr id="10" name="Layout Support" hidden="1">
            <a:extLst>
              <a:ext uri="{FF2B5EF4-FFF2-40B4-BE49-F238E27FC236}">
                <a16:creationId xmlns:a16="http://schemas.microsoft.com/office/drawing/2014/main" id="{5A3A98BB-9D6F-4B8C-B732-6D96A965A840}"/>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00001</a:t>
            </a:r>
          </a:p>
        </p:txBody>
      </p:sp>
    </p:spTree>
    <p:extLst>
      <p:ext uri="{BB962C8B-B14F-4D97-AF65-F5344CB8AC3E}">
        <p14:creationId xmlns:p14="http://schemas.microsoft.com/office/powerpoint/2010/main" val="3189164949"/>
      </p:ext>
    </p:extLst>
  </p:cSld>
  <p:clrMapOvr>
    <a:masterClrMapping/>
  </p:clrMapOvr>
  <p:hf hdr="0" dt="0"/>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Full Bleed Image&#10;- Dark -" preserve="1">
  <p:cSld name="Full Bleed Image - Dark -">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4222AAA-497F-4115-A05A-731D1B3DA531}"/>
              </a:ext>
            </a:extLst>
          </p:cNvPr>
          <p:cNvSpPr/>
          <p:nvPr userDrawn="1"/>
        </p:nvSpPr>
        <p:spPr>
          <a:xfrm>
            <a:off x="9886800" y="6150600"/>
            <a:ext cx="2138400" cy="583200"/>
          </a:xfrm>
          <a:prstGeom prst="rect">
            <a:avLst/>
          </a:prstGeom>
          <a:solidFill>
            <a:schemeClr val="tx1"/>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6" name="Date Placeholder 5">
            <a:extLst>
              <a:ext uri="{FF2B5EF4-FFF2-40B4-BE49-F238E27FC236}">
                <a16:creationId xmlns:a16="http://schemas.microsoft.com/office/drawing/2014/main" id="{C68E0E53-1D00-43D4-AEA9-5AF9A1E4B443}"/>
              </a:ext>
            </a:extLst>
          </p:cNvPr>
          <p:cNvSpPr>
            <a:spLocks noGrp="1"/>
          </p:cNvSpPr>
          <p:nvPr>
            <p:ph type="dt" sz="half" idx="2"/>
          </p:nvPr>
        </p:nvSpPr>
        <p:spPr/>
        <p:txBody>
          <a:bodyPr/>
          <a:lstStyle>
            <a:lvl1pPr>
              <a:defRPr baseline="0"/>
            </a:lvl1pPr>
          </a:lstStyle>
          <a:p>
            <a:fld id="{04A728B0-2EE8-4602-849F-D2D469FDAEE2}" type="datetime1">
              <a:rPr lang="en-US"/>
              <a:pPr/>
              <a:t>1/29/2022</a:t>
            </a:fld>
            <a:endParaRPr lang="en-US" dirty="0"/>
          </a:p>
        </p:txBody>
      </p:sp>
      <p:sp>
        <p:nvSpPr>
          <p:cNvPr id="7" name="Footer Placeholder 6">
            <a:extLst>
              <a:ext uri="{FF2B5EF4-FFF2-40B4-BE49-F238E27FC236}">
                <a16:creationId xmlns:a16="http://schemas.microsoft.com/office/drawing/2014/main" id="{56903F9A-29C0-4984-942A-04A35DFF7716}"/>
              </a:ext>
            </a:extLst>
          </p:cNvPr>
          <p:cNvSpPr>
            <a:spLocks noGrp="1"/>
          </p:cNvSpPr>
          <p:nvPr>
            <p:ph type="ftr" sz="quarter" idx="3"/>
          </p:nvPr>
        </p:nvSpPr>
        <p:spPr/>
        <p:txBody>
          <a:bodyPr/>
          <a:lstStyle>
            <a:lvl1pPr>
              <a:defRPr baseline="0"/>
            </a:lvl1pPr>
          </a:lstStyle>
          <a:p>
            <a:r>
              <a:rPr lang="en-US"/>
              <a:t>© 2021 Software AG. All rights reserved. For internal use only and for Software AG Partners.</a:t>
            </a:r>
            <a:endParaRPr lang="en-US" dirty="0"/>
          </a:p>
        </p:txBody>
      </p:sp>
      <p:sp>
        <p:nvSpPr>
          <p:cNvPr id="8" name="Slide Number Placeholder 7">
            <a:extLst>
              <a:ext uri="{FF2B5EF4-FFF2-40B4-BE49-F238E27FC236}">
                <a16:creationId xmlns:a16="http://schemas.microsoft.com/office/drawing/2014/main" id="{2ECD80D2-B32A-4400-9F50-BA9B44B908FB}"/>
              </a:ext>
            </a:extLst>
          </p:cNvPr>
          <p:cNvSpPr>
            <a:spLocks noGrp="1"/>
          </p:cNvSpPr>
          <p:nvPr>
            <p:ph type="sldNum" sz="quarter" idx="4"/>
          </p:nvPr>
        </p:nvSpPr>
        <p:spPr/>
        <p:txBody>
          <a:bodyPr/>
          <a:lstStyle>
            <a:lvl1pPr>
              <a:defRPr baseline="0"/>
            </a:lvl1pPr>
          </a:lstStyle>
          <a:p>
            <a:fld id="{22FF84AA-2C76-4AF1-8502-73D25D47F37C}" type="slidenum">
              <a:rPr lang="en-US"/>
              <a:pPr/>
              <a:t>‹#›</a:t>
            </a:fld>
            <a:endParaRPr lang="en-US" dirty="0"/>
          </a:p>
        </p:txBody>
      </p:sp>
      <p:sp>
        <p:nvSpPr>
          <p:cNvPr id="30" name="Picture Placeholder 31">
            <a:extLst>
              <a:ext uri="{FF2B5EF4-FFF2-40B4-BE49-F238E27FC236}">
                <a16:creationId xmlns:a16="http://schemas.microsoft.com/office/drawing/2014/main" id="{DA8D3368-DDB2-4A13-953C-51B4A7C2ACEA}"/>
              </a:ext>
            </a:extLst>
          </p:cNvPr>
          <p:cNvSpPr>
            <a:spLocks noGrp="1"/>
          </p:cNvSpPr>
          <p:nvPr>
            <p:ph type="pic" sz="quarter" idx="31" hasCustomPrompt="1"/>
          </p:nvPr>
        </p:nvSpPr>
        <p:spPr>
          <a:xfrm>
            <a:off x="0" y="0"/>
            <a:ext cx="12191999" cy="6858000"/>
          </a:xfrm>
          <a:custGeom>
            <a:avLst/>
            <a:gdLst>
              <a:gd name="connsiteX0" fmla="*/ 11298788 w 12191999"/>
              <a:gd name="connsiteY0" fmla="*/ 6533358 h 6858000"/>
              <a:gd name="connsiteX1" fmla="*/ 11298788 w 12191999"/>
              <a:gd name="connsiteY1" fmla="*/ 6577748 h 6858000"/>
              <a:gd name="connsiteX2" fmla="*/ 11277098 w 12191999"/>
              <a:gd name="connsiteY2" fmla="*/ 6580508 h 6858000"/>
              <a:gd name="connsiteX3" fmla="*/ 11251296 w 12191999"/>
              <a:gd name="connsiteY3" fmla="*/ 6559126 h 6858000"/>
              <a:gd name="connsiteX4" fmla="*/ 11271583 w 12191999"/>
              <a:gd name="connsiteY4" fmla="*/ 6537753 h 6858000"/>
              <a:gd name="connsiteX5" fmla="*/ 10560747 w 12191999"/>
              <a:gd name="connsiteY5" fmla="*/ 6479619 h 6858000"/>
              <a:gd name="connsiteX6" fmla="*/ 10586349 w 12191999"/>
              <a:gd name="connsiteY6" fmla="*/ 6528988 h 6858000"/>
              <a:gd name="connsiteX7" fmla="*/ 10560747 w 12191999"/>
              <a:gd name="connsiteY7" fmla="*/ 6577739 h 6858000"/>
              <a:gd name="connsiteX8" fmla="*/ 10535246 w 12191999"/>
              <a:gd name="connsiteY8" fmla="*/ 6528988 h 6858000"/>
              <a:gd name="connsiteX9" fmla="*/ 10560747 w 12191999"/>
              <a:gd name="connsiteY9" fmla="*/ 6479619 h 6858000"/>
              <a:gd name="connsiteX10" fmla="*/ 11568237 w 12191999"/>
              <a:gd name="connsiteY10" fmla="*/ 6479077 h 6858000"/>
              <a:gd name="connsiteX11" fmla="*/ 11592661 w 12191999"/>
              <a:gd name="connsiteY11" fmla="*/ 6494421 h 6858000"/>
              <a:gd name="connsiteX12" fmla="*/ 11594332 w 12191999"/>
              <a:gd name="connsiteY12" fmla="*/ 6515511 h 6858000"/>
              <a:gd name="connsiteX13" fmla="*/ 11594332 w 12191999"/>
              <a:gd name="connsiteY13" fmla="*/ 6519889 h 6858000"/>
              <a:gd name="connsiteX14" fmla="*/ 11542987 w 12191999"/>
              <a:gd name="connsiteY14" fmla="*/ 6519889 h 6858000"/>
              <a:gd name="connsiteX15" fmla="*/ 11542987 w 12191999"/>
              <a:gd name="connsiteY15" fmla="*/ 6517179 h 6858000"/>
              <a:gd name="connsiteX16" fmla="*/ 11544357 w 12191999"/>
              <a:gd name="connsiteY16" fmla="*/ 6496340 h 6858000"/>
              <a:gd name="connsiteX17" fmla="*/ 11568237 w 12191999"/>
              <a:gd name="connsiteY17" fmla="*/ 6479077 h 6858000"/>
              <a:gd name="connsiteX18" fmla="*/ 11720656 w 12191999"/>
              <a:gd name="connsiteY18" fmla="*/ 6460415 h 6858000"/>
              <a:gd name="connsiteX19" fmla="*/ 11725886 w 12191999"/>
              <a:gd name="connsiteY19" fmla="*/ 6460415 h 6858000"/>
              <a:gd name="connsiteX20" fmla="*/ 11733582 w 12191999"/>
              <a:gd name="connsiteY20" fmla="*/ 6487000 h 6858000"/>
              <a:gd name="connsiteX21" fmla="*/ 11712977 w 12191999"/>
              <a:gd name="connsiteY21" fmla="*/ 6487000 h 6858000"/>
              <a:gd name="connsiteX22" fmla="*/ 11710245 w 12191999"/>
              <a:gd name="connsiteY22" fmla="*/ 6450024 h 6858000"/>
              <a:gd name="connsiteX23" fmla="*/ 11709167 w 12191999"/>
              <a:gd name="connsiteY23" fmla="*/ 6450850 h 6858000"/>
              <a:gd name="connsiteX24" fmla="*/ 11687317 w 12191999"/>
              <a:gd name="connsiteY24" fmla="*/ 6515787 h 6858000"/>
              <a:gd name="connsiteX25" fmla="*/ 11687033 w 12191999"/>
              <a:gd name="connsiteY25" fmla="*/ 6516896 h 6858000"/>
              <a:gd name="connsiteX26" fmla="*/ 11687827 w 12191999"/>
              <a:gd name="connsiteY26" fmla="*/ 6517455 h 6858000"/>
              <a:gd name="connsiteX27" fmla="*/ 11703886 w 12191999"/>
              <a:gd name="connsiteY27" fmla="*/ 6517455 h 6858000"/>
              <a:gd name="connsiteX28" fmla="*/ 11705014 w 12191999"/>
              <a:gd name="connsiteY28" fmla="*/ 6516329 h 6858000"/>
              <a:gd name="connsiteX29" fmla="*/ 11709977 w 12191999"/>
              <a:gd name="connsiteY29" fmla="*/ 6497716 h 6858000"/>
              <a:gd name="connsiteX30" fmla="*/ 11736581 w 12191999"/>
              <a:gd name="connsiteY30" fmla="*/ 6497716 h 6858000"/>
              <a:gd name="connsiteX31" fmla="*/ 11741528 w 12191999"/>
              <a:gd name="connsiteY31" fmla="*/ 6516329 h 6858000"/>
              <a:gd name="connsiteX32" fmla="*/ 11742656 w 12191999"/>
              <a:gd name="connsiteY32" fmla="*/ 6517455 h 6858000"/>
              <a:gd name="connsiteX33" fmla="*/ 11757763 w 12191999"/>
              <a:gd name="connsiteY33" fmla="*/ 6517455 h 6858000"/>
              <a:gd name="connsiteX34" fmla="*/ 11758573 w 12191999"/>
              <a:gd name="connsiteY34" fmla="*/ 6516896 h 6858000"/>
              <a:gd name="connsiteX35" fmla="*/ 11758272 w 12191999"/>
              <a:gd name="connsiteY35" fmla="*/ 6515787 h 6858000"/>
              <a:gd name="connsiteX36" fmla="*/ 11737442 w 12191999"/>
              <a:gd name="connsiteY36" fmla="*/ 6450850 h 6858000"/>
              <a:gd name="connsiteX37" fmla="*/ 11736314 w 12191999"/>
              <a:gd name="connsiteY37" fmla="*/ 6450024 h 6858000"/>
              <a:gd name="connsiteX38" fmla="*/ 10188067 w 12191999"/>
              <a:gd name="connsiteY38" fmla="*/ 6449732 h 6858000"/>
              <a:gd name="connsiteX39" fmla="*/ 10188067 w 12191999"/>
              <a:gd name="connsiteY39" fmla="*/ 6496048 h 6858000"/>
              <a:gd name="connsiteX40" fmla="*/ 10143574 w 12191999"/>
              <a:gd name="connsiteY40" fmla="*/ 6547343 h 6858000"/>
              <a:gd name="connsiteX41" fmla="*/ 10120796 w 12191999"/>
              <a:gd name="connsiteY41" fmla="*/ 6547343 h 6858000"/>
              <a:gd name="connsiteX42" fmla="*/ 10114179 w 12191999"/>
              <a:gd name="connsiteY42" fmla="*/ 6609537 h 6858000"/>
              <a:gd name="connsiteX43" fmla="*/ 10146874 w 12191999"/>
              <a:gd name="connsiteY43" fmla="*/ 6609537 h 6858000"/>
              <a:gd name="connsiteX44" fmla="*/ 10250959 w 12191999"/>
              <a:gd name="connsiteY44" fmla="*/ 6500735 h 6858000"/>
              <a:gd name="connsiteX45" fmla="*/ 10250959 w 12191999"/>
              <a:gd name="connsiteY45" fmla="*/ 6449732 h 6858000"/>
              <a:gd name="connsiteX46" fmla="*/ 11804146 w 12191999"/>
              <a:gd name="connsiteY46" fmla="*/ 6448589 h 6858000"/>
              <a:gd name="connsiteX47" fmla="*/ 11769822 w 12191999"/>
              <a:gd name="connsiteY47" fmla="*/ 6483747 h 6858000"/>
              <a:gd name="connsiteX48" fmla="*/ 11805809 w 12191999"/>
              <a:gd name="connsiteY48" fmla="*/ 6518563 h 6858000"/>
              <a:gd name="connsiteX49" fmla="*/ 11825035 w 12191999"/>
              <a:gd name="connsiteY49" fmla="*/ 6516645 h 6858000"/>
              <a:gd name="connsiteX50" fmla="*/ 11824792 w 12191999"/>
              <a:gd name="connsiteY50" fmla="*/ 6516645 h 6858000"/>
              <a:gd name="connsiteX51" fmla="*/ 11830800 w 12191999"/>
              <a:gd name="connsiteY51" fmla="*/ 6508698 h 6858000"/>
              <a:gd name="connsiteX52" fmla="*/ 11830800 w 12191999"/>
              <a:gd name="connsiteY52" fmla="*/ 6480678 h 6858000"/>
              <a:gd name="connsiteX53" fmla="*/ 11829730 w 12191999"/>
              <a:gd name="connsiteY53" fmla="*/ 6479619 h 6858000"/>
              <a:gd name="connsiteX54" fmla="*/ 11804146 w 12191999"/>
              <a:gd name="connsiteY54" fmla="*/ 6479619 h 6858000"/>
              <a:gd name="connsiteX55" fmla="*/ 11803068 w 12191999"/>
              <a:gd name="connsiteY55" fmla="*/ 6480678 h 6858000"/>
              <a:gd name="connsiteX56" fmla="*/ 11803068 w 12191999"/>
              <a:gd name="connsiteY56" fmla="*/ 6488917 h 6858000"/>
              <a:gd name="connsiteX57" fmla="*/ 11804146 w 12191999"/>
              <a:gd name="connsiteY57" fmla="*/ 6490310 h 6858000"/>
              <a:gd name="connsiteX58" fmla="*/ 11815134 w 12191999"/>
              <a:gd name="connsiteY58" fmla="*/ 6491403 h 6858000"/>
              <a:gd name="connsiteX59" fmla="*/ 11815134 w 12191999"/>
              <a:gd name="connsiteY59" fmla="*/ 6507572 h 6858000"/>
              <a:gd name="connsiteX60" fmla="*/ 11806327 w 12191999"/>
              <a:gd name="connsiteY60" fmla="*/ 6507856 h 6858000"/>
              <a:gd name="connsiteX61" fmla="*/ 11786575 w 12191999"/>
              <a:gd name="connsiteY61" fmla="*/ 6484273 h 6858000"/>
              <a:gd name="connsiteX62" fmla="*/ 11808249 w 12191999"/>
              <a:gd name="connsiteY62" fmla="*/ 6460147 h 6858000"/>
              <a:gd name="connsiteX63" fmla="*/ 11824784 w 12191999"/>
              <a:gd name="connsiteY63" fmla="*/ 6462049 h 6858000"/>
              <a:gd name="connsiteX64" fmla="*/ 11826138 w 12191999"/>
              <a:gd name="connsiteY64" fmla="*/ 6462299 h 6858000"/>
              <a:gd name="connsiteX65" fmla="*/ 11828335 w 12191999"/>
              <a:gd name="connsiteY65" fmla="*/ 6462566 h 6858000"/>
              <a:gd name="connsiteX66" fmla="*/ 11829730 w 12191999"/>
              <a:gd name="connsiteY66" fmla="*/ 6460689 h 6858000"/>
              <a:gd name="connsiteX67" fmla="*/ 11830508 w 12191999"/>
              <a:gd name="connsiteY67" fmla="*/ 6456278 h 6858000"/>
              <a:gd name="connsiteX68" fmla="*/ 11830792 w 12191999"/>
              <a:gd name="connsiteY68" fmla="*/ 6454101 h 6858000"/>
              <a:gd name="connsiteX69" fmla="*/ 11829396 w 12191999"/>
              <a:gd name="connsiteY69" fmla="*/ 6452434 h 6858000"/>
              <a:gd name="connsiteX70" fmla="*/ 11804146 w 12191999"/>
              <a:gd name="connsiteY70" fmla="*/ 6448589 h 6858000"/>
              <a:gd name="connsiteX71" fmla="*/ 11468798 w 12191999"/>
              <a:gd name="connsiteY71" fmla="*/ 6446454 h 6858000"/>
              <a:gd name="connsiteX72" fmla="*/ 11414988 w 12191999"/>
              <a:gd name="connsiteY72" fmla="*/ 6451917 h 6858000"/>
              <a:gd name="connsiteX73" fmla="*/ 11388050 w 12191999"/>
              <a:gd name="connsiteY73" fmla="*/ 6469487 h 6858000"/>
              <a:gd name="connsiteX74" fmla="*/ 11388050 w 12191999"/>
              <a:gd name="connsiteY74" fmla="*/ 6603823 h 6858000"/>
              <a:gd name="connsiteX75" fmla="*/ 11391919 w 12191999"/>
              <a:gd name="connsiteY75" fmla="*/ 6607676 h 6858000"/>
              <a:gd name="connsiteX76" fmla="*/ 11436086 w 12191999"/>
              <a:gd name="connsiteY76" fmla="*/ 6607676 h 6858000"/>
              <a:gd name="connsiteX77" fmla="*/ 11439963 w 12191999"/>
              <a:gd name="connsiteY77" fmla="*/ 6603823 h 6858000"/>
              <a:gd name="connsiteX78" fmla="*/ 11439963 w 12191999"/>
              <a:gd name="connsiteY78" fmla="*/ 6485899 h 6858000"/>
              <a:gd name="connsiteX79" fmla="*/ 11474847 w 12191999"/>
              <a:gd name="connsiteY79" fmla="*/ 6483455 h 6858000"/>
              <a:gd name="connsiteX80" fmla="*/ 11480345 w 12191999"/>
              <a:gd name="connsiteY80" fmla="*/ 6477109 h 6858000"/>
              <a:gd name="connsiteX81" fmla="*/ 11480345 w 12191999"/>
              <a:gd name="connsiteY81" fmla="*/ 6452750 h 6858000"/>
              <a:gd name="connsiteX82" fmla="*/ 11474003 w 12191999"/>
              <a:gd name="connsiteY82" fmla="*/ 6446454 h 6858000"/>
              <a:gd name="connsiteX83" fmla="*/ 10401190 w 12191999"/>
              <a:gd name="connsiteY83" fmla="*/ 6445921 h 6858000"/>
              <a:gd name="connsiteX84" fmla="*/ 10335023 w 12191999"/>
              <a:gd name="connsiteY84" fmla="*/ 6496039 h 6858000"/>
              <a:gd name="connsiteX85" fmla="*/ 10382516 w 12191999"/>
              <a:gd name="connsiteY85" fmla="*/ 6545666 h 6858000"/>
              <a:gd name="connsiteX86" fmla="*/ 10385549 w 12191999"/>
              <a:gd name="connsiteY86" fmla="*/ 6546191 h 6858000"/>
              <a:gd name="connsiteX87" fmla="*/ 10406153 w 12191999"/>
              <a:gd name="connsiteY87" fmla="*/ 6563203 h 6858000"/>
              <a:gd name="connsiteX88" fmla="*/ 10384972 w 12191999"/>
              <a:gd name="connsiteY88" fmla="*/ 6578581 h 6858000"/>
              <a:gd name="connsiteX89" fmla="*/ 10343504 w 12191999"/>
              <a:gd name="connsiteY89" fmla="*/ 6572285 h 6858000"/>
              <a:gd name="connsiteX90" fmla="*/ 10343771 w 12191999"/>
              <a:gd name="connsiteY90" fmla="*/ 6572285 h 6858000"/>
              <a:gd name="connsiteX91" fmla="*/ 10342961 w 12191999"/>
              <a:gd name="connsiteY91" fmla="*/ 6572034 h 6858000"/>
              <a:gd name="connsiteX92" fmla="*/ 10339936 w 12191999"/>
              <a:gd name="connsiteY92" fmla="*/ 6571459 h 6858000"/>
              <a:gd name="connsiteX93" fmla="*/ 10336886 w 12191999"/>
              <a:gd name="connsiteY93" fmla="*/ 6575304 h 6858000"/>
              <a:gd name="connsiteX94" fmla="*/ 10333628 w 12191999"/>
              <a:gd name="connsiteY94" fmla="*/ 6594759 h 6858000"/>
              <a:gd name="connsiteX95" fmla="*/ 10333068 w 12191999"/>
              <a:gd name="connsiteY95" fmla="*/ 6598854 h 6858000"/>
              <a:gd name="connsiteX96" fmla="*/ 10336076 w 12191999"/>
              <a:gd name="connsiteY96" fmla="*/ 6602698 h 6858000"/>
              <a:gd name="connsiteX97" fmla="*/ 10392408 w 12191999"/>
              <a:gd name="connsiteY97" fmla="*/ 6611237 h 6858000"/>
              <a:gd name="connsiteX98" fmla="*/ 10458567 w 12191999"/>
              <a:gd name="connsiteY98" fmla="*/ 6558867 h 6858000"/>
              <a:gd name="connsiteX99" fmla="*/ 10414935 w 12191999"/>
              <a:gd name="connsiteY99" fmla="*/ 6510324 h 6858000"/>
              <a:gd name="connsiteX100" fmla="*/ 10410481 w 12191999"/>
              <a:gd name="connsiteY100" fmla="*/ 6509516 h 6858000"/>
              <a:gd name="connsiteX101" fmla="*/ 10387429 w 12191999"/>
              <a:gd name="connsiteY101" fmla="*/ 6492487 h 6858000"/>
              <a:gd name="connsiteX102" fmla="*/ 10409437 w 12191999"/>
              <a:gd name="connsiteY102" fmla="*/ 6478285 h 6858000"/>
              <a:gd name="connsiteX103" fmla="*/ 10440202 w 12191999"/>
              <a:gd name="connsiteY103" fmla="*/ 6481821 h 6858000"/>
              <a:gd name="connsiteX104" fmla="*/ 10445674 w 12191999"/>
              <a:gd name="connsiteY104" fmla="*/ 6482663 h 6858000"/>
              <a:gd name="connsiteX105" fmla="*/ 10449526 w 12191999"/>
              <a:gd name="connsiteY105" fmla="*/ 6479903 h 6858000"/>
              <a:gd name="connsiteX106" fmla="*/ 10453378 w 12191999"/>
              <a:gd name="connsiteY106" fmla="*/ 6459872 h 6858000"/>
              <a:gd name="connsiteX107" fmla="*/ 10453646 w 12191999"/>
              <a:gd name="connsiteY107" fmla="*/ 6457696 h 6858000"/>
              <a:gd name="connsiteX108" fmla="*/ 10447889 w 12191999"/>
              <a:gd name="connsiteY108" fmla="*/ 6451916 h 6858000"/>
              <a:gd name="connsiteX109" fmla="*/ 10401190 w 12191999"/>
              <a:gd name="connsiteY109" fmla="*/ 6445921 h 6858000"/>
              <a:gd name="connsiteX110" fmla="*/ 11568246 w 12191999"/>
              <a:gd name="connsiteY110" fmla="*/ 6445912 h 6858000"/>
              <a:gd name="connsiteX111" fmla="*/ 11489963 w 12191999"/>
              <a:gd name="connsiteY111" fmla="*/ 6529780 h 6858000"/>
              <a:gd name="connsiteX112" fmla="*/ 11576752 w 12191999"/>
              <a:gd name="connsiteY112" fmla="*/ 6611495 h 6858000"/>
              <a:gd name="connsiteX113" fmla="*/ 11633068 w 12191999"/>
              <a:gd name="connsiteY113" fmla="*/ 6601597 h 6858000"/>
              <a:gd name="connsiteX114" fmla="*/ 11637187 w 12191999"/>
              <a:gd name="connsiteY114" fmla="*/ 6596410 h 6858000"/>
              <a:gd name="connsiteX115" fmla="*/ 11636936 w 12191999"/>
              <a:gd name="connsiteY115" fmla="*/ 6594200 h 6858000"/>
              <a:gd name="connsiteX116" fmla="*/ 11632533 w 12191999"/>
              <a:gd name="connsiteY116" fmla="*/ 6576112 h 6858000"/>
              <a:gd name="connsiteX117" fmla="*/ 11632533 w 12191999"/>
              <a:gd name="connsiteY117" fmla="*/ 6576379 h 6858000"/>
              <a:gd name="connsiteX118" fmla="*/ 11627570 w 12191999"/>
              <a:gd name="connsiteY118" fmla="*/ 6571726 h 6858000"/>
              <a:gd name="connsiteX119" fmla="*/ 11623994 w 12191999"/>
              <a:gd name="connsiteY119" fmla="*/ 6572284 h 6858000"/>
              <a:gd name="connsiteX120" fmla="*/ 11624278 w 12191999"/>
              <a:gd name="connsiteY120" fmla="*/ 6572284 h 6858000"/>
              <a:gd name="connsiteX121" fmla="*/ 11586085 w 12191999"/>
              <a:gd name="connsiteY121" fmla="*/ 6578580 h 6858000"/>
              <a:gd name="connsiteX122" fmla="*/ 11556398 w 12191999"/>
              <a:gd name="connsiteY122" fmla="*/ 6573886 h 6858000"/>
              <a:gd name="connsiteX123" fmla="*/ 11543505 w 12191999"/>
              <a:gd name="connsiteY123" fmla="*/ 6549260 h 6858000"/>
              <a:gd name="connsiteX124" fmla="*/ 11636936 w 12191999"/>
              <a:gd name="connsiteY124" fmla="*/ 6549260 h 6858000"/>
              <a:gd name="connsiteX125" fmla="*/ 11644331 w 12191999"/>
              <a:gd name="connsiteY125" fmla="*/ 6540754 h 6858000"/>
              <a:gd name="connsiteX126" fmla="*/ 11644331 w 12191999"/>
              <a:gd name="connsiteY126" fmla="*/ 6526210 h 6858000"/>
              <a:gd name="connsiteX127" fmla="*/ 11628397 w 12191999"/>
              <a:gd name="connsiteY127" fmla="*/ 6464525 h 6858000"/>
              <a:gd name="connsiteX128" fmla="*/ 11568246 w 12191999"/>
              <a:gd name="connsiteY128" fmla="*/ 6445912 h 6858000"/>
              <a:gd name="connsiteX129" fmla="*/ 10560747 w 12191999"/>
              <a:gd name="connsiteY129" fmla="*/ 6445912 h 6858000"/>
              <a:gd name="connsiteX130" fmla="*/ 10482214 w 12191999"/>
              <a:gd name="connsiteY130" fmla="*/ 6528988 h 6858000"/>
              <a:gd name="connsiteX131" fmla="*/ 10560747 w 12191999"/>
              <a:gd name="connsiteY131" fmla="*/ 6611496 h 6858000"/>
              <a:gd name="connsiteX132" fmla="*/ 10639314 w 12191999"/>
              <a:gd name="connsiteY132" fmla="*/ 6528988 h 6858000"/>
              <a:gd name="connsiteX133" fmla="*/ 10560747 w 12191999"/>
              <a:gd name="connsiteY133" fmla="*/ 6445912 h 6858000"/>
              <a:gd name="connsiteX134" fmla="*/ 11283665 w 12191999"/>
              <a:gd name="connsiteY134" fmla="*/ 6445904 h 6858000"/>
              <a:gd name="connsiteX135" fmla="*/ 11215576 w 12191999"/>
              <a:gd name="connsiteY135" fmla="*/ 6457112 h 6858000"/>
              <a:gd name="connsiteX136" fmla="*/ 11211716 w 12191999"/>
              <a:gd name="connsiteY136" fmla="*/ 6461240 h 6858000"/>
              <a:gd name="connsiteX137" fmla="*/ 11211716 w 12191999"/>
              <a:gd name="connsiteY137" fmla="*/ 6462316 h 6858000"/>
              <a:gd name="connsiteX138" fmla="*/ 11212000 w 12191999"/>
              <a:gd name="connsiteY138" fmla="*/ 6463158 h 6858000"/>
              <a:gd name="connsiteX139" fmla="*/ 11217197 w 12191999"/>
              <a:gd name="connsiteY139" fmla="*/ 6485899 h 6858000"/>
              <a:gd name="connsiteX140" fmla="*/ 11219979 w 12191999"/>
              <a:gd name="connsiteY140" fmla="*/ 6488109 h 6858000"/>
              <a:gd name="connsiteX141" fmla="*/ 11222177 w 12191999"/>
              <a:gd name="connsiteY141" fmla="*/ 6487826 h 6858000"/>
              <a:gd name="connsiteX142" fmla="*/ 11271884 w 12191999"/>
              <a:gd name="connsiteY142" fmla="*/ 6479620 h 6858000"/>
              <a:gd name="connsiteX143" fmla="*/ 11292171 w 12191999"/>
              <a:gd name="connsiteY143" fmla="*/ 6482330 h 6858000"/>
              <a:gd name="connsiteX144" fmla="*/ 11298788 w 12191999"/>
              <a:gd name="connsiteY144" fmla="*/ 6497974 h 6858000"/>
              <a:gd name="connsiteX145" fmla="*/ 11298788 w 12191999"/>
              <a:gd name="connsiteY145" fmla="*/ 6504829 h 6858000"/>
              <a:gd name="connsiteX146" fmla="*/ 11246893 w 12191999"/>
              <a:gd name="connsiteY146" fmla="*/ 6513068 h 6858000"/>
              <a:gd name="connsiteX147" fmla="*/ 11201564 w 12191999"/>
              <a:gd name="connsiteY147" fmla="*/ 6559626 h 6858000"/>
              <a:gd name="connsiteX148" fmla="*/ 11276245 w 12191999"/>
              <a:gd name="connsiteY148" fmla="*/ 6611488 h 6858000"/>
              <a:gd name="connsiteX149" fmla="*/ 11320462 w 12191999"/>
              <a:gd name="connsiteY149" fmla="*/ 6607661 h 6858000"/>
              <a:gd name="connsiteX150" fmla="*/ 11350467 w 12191999"/>
              <a:gd name="connsiteY150" fmla="*/ 6576096 h 6858000"/>
              <a:gd name="connsiteX151" fmla="*/ 11350467 w 12191999"/>
              <a:gd name="connsiteY151" fmla="*/ 6493304 h 6858000"/>
              <a:gd name="connsiteX152" fmla="*/ 11330639 w 12191999"/>
              <a:gd name="connsiteY152" fmla="*/ 6454936 h 6858000"/>
              <a:gd name="connsiteX153" fmla="*/ 11283665 w 12191999"/>
              <a:gd name="connsiteY153" fmla="*/ 6445904 h 6858000"/>
              <a:gd name="connsiteX154" fmla="*/ 10734048 w 12191999"/>
              <a:gd name="connsiteY154" fmla="*/ 6380908 h 6858000"/>
              <a:gd name="connsiteX155" fmla="*/ 10680815 w 12191999"/>
              <a:gd name="connsiteY155" fmla="*/ 6429993 h 6858000"/>
              <a:gd name="connsiteX156" fmla="*/ 10680815 w 12191999"/>
              <a:gd name="connsiteY156" fmla="*/ 6449715 h 6858000"/>
              <a:gd name="connsiteX157" fmla="*/ 10657453 w 12191999"/>
              <a:gd name="connsiteY157" fmla="*/ 6449715 h 6858000"/>
              <a:gd name="connsiteX158" fmla="*/ 10653593 w 12191999"/>
              <a:gd name="connsiteY158" fmla="*/ 6453560 h 6858000"/>
              <a:gd name="connsiteX159" fmla="*/ 10653593 w 12191999"/>
              <a:gd name="connsiteY159" fmla="*/ 6481805 h 6858000"/>
              <a:gd name="connsiteX160" fmla="*/ 10657453 w 12191999"/>
              <a:gd name="connsiteY160" fmla="*/ 6485658 h 6858000"/>
              <a:gd name="connsiteX161" fmla="*/ 10680815 w 12191999"/>
              <a:gd name="connsiteY161" fmla="*/ 6485658 h 6858000"/>
              <a:gd name="connsiteX162" fmla="*/ 10680815 w 12191999"/>
              <a:gd name="connsiteY162" fmla="*/ 6603808 h 6858000"/>
              <a:gd name="connsiteX163" fmla="*/ 10684650 w 12191999"/>
              <a:gd name="connsiteY163" fmla="*/ 6607661 h 6858000"/>
              <a:gd name="connsiteX164" fmla="*/ 10729152 w 12191999"/>
              <a:gd name="connsiteY164" fmla="*/ 6607661 h 6858000"/>
              <a:gd name="connsiteX165" fmla="*/ 10732987 w 12191999"/>
              <a:gd name="connsiteY165" fmla="*/ 6603808 h 6858000"/>
              <a:gd name="connsiteX166" fmla="*/ 10732987 w 12191999"/>
              <a:gd name="connsiteY166" fmla="*/ 6485666 h 6858000"/>
              <a:gd name="connsiteX167" fmla="*/ 10803875 w 12191999"/>
              <a:gd name="connsiteY167" fmla="*/ 6485666 h 6858000"/>
              <a:gd name="connsiteX168" fmla="*/ 10803875 w 12191999"/>
              <a:gd name="connsiteY168" fmla="*/ 6559126 h 6858000"/>
              <a:gd name="connsiteX169" fmla="*/ 10860191 w 12191999"/>
              <a:gd name="connsiteY169" fmla="*/ 6610112 h 6858000"/>
              <a:gd name="connsiteX170" fmla="*/ 10898610 w 12191999"/>
              <a:gd name="connsiteY170" fmla="*/ 6604608 h 6858000"/>
              <a:gd name="connsiteX171" fmla="*/ 10902746 w 12191999"/>
              <a:gd name="connsiteY171" fmla="*/ 6599688 h 6858000"/>
              <a:gd name="connsiteX172" fmla="*/ 10902495 w 12191999"/>
              <a:gd name="connsiteY172" fmla="*/ 6597228 h 6858000"/>
              <a:gd name="connsiteX173" fmla="*/ 10898342 w 12191999"/>
              <a:gd name="connsiteY173" fmla="*/ 6575563 h 6858000"/>
              <a:gd name="connsiteX174" fmla="*/ 10895050 w 12191999"/>
              <a:gd name="connsiteY174" fmla="*/ 6572277 h 6858000"/>
              <a:gd name="connsiteX175" fmla="*/ 10892869 w 12191999"/>
              <a:gd name="connsiteY175" fmla="*/ 6572527 h 6858000"/>
              <a:gd name="connsiteX176" fmla="*/ 10891482 w 12191999"/>
              <a:gd name="connsiteY176" fmla="*/ 6572811 h 6858000"/>
              <a:gd name="connsiteX177" fmla="*/ 10874170 w 12191999"/>
              <a:gd name="connsiteY177" fmla="*/ 6574162 h 6858000"/>
              <a:gd name="connsiteX178" fmla="*/ 10855487 w 12191999"/>
              <a:gd name="connsiteY178" fmla="*/ 6555799 h 6858000"/>
              <a:gd name="connsiteX179" fmla="*/ 10855487 w 12191999"/>
              <a:gd name="connsiteY179" fmla="*/ 6485891 h 6858000"/>
              <a:gd name="connsiteX180" fmla="*/ 10933761 w 12191999"/>
              <a:gd name="connsiteY180" fmla="*/ 6485891 h 6858000"/>
              <a:gd name="connsiteX181" fmla="*/ 10933761 w 12191999"/>
              <a:gd name="connsiteY181" fmla="*/ 6588722 h 6858000"/>
              <a:gd name="connsiteX182" fmla="*/ 10960139 w 12191999"/>
              <a:gd name="connsiteY182" fmla="*/ 6605985 h 6858000"/>
              <a:gd name="connsiteX183" fmla="*/ 11007123 w 12191999"/>
              <a:gd name="connsiteY183" fmla="*/ 6611730 h 6858000"/>
              <a:gd name="connsiteX184" fmla="*/ 11057673 w 12191999"/>
              <a:gd name="connsiteY184" fmla="*/ 6598004 h 6858000"/>
              <a:gd name="connsiteX185" fmla="*/ 11116396 w 12191999"/>
              <a:gd name="connsiteY185" fmla="*/ 6611730 h 6858000"/>
              <a:gd name="connsiteX186" fmla="*/ 11178218 w 12191999"/>
              <a:gd name="connsiteY186" fmla="*/ 6566215 h 6858000"/>
              <a:gd name="connsiteX187" fmla="*/ 11178218 w 12191999"/>
              <a:gd name="connsiteY187" fmla="*/ 6453560 h 6858000"/>
              <a:gd name="connsiteX188" fmla="*/ 11174400 w 12191999"/>
              <a:gd name="connsiteY188" fmla="*/ 6449715 h 6858000"/>
              <a:gd name="connsiteX189" fmla="*/ 11130149 w 12191999"/>
              <a:gd name="connsiteY189" fmla="*/ 6449715 h 6858000"/>
              <a:gd name="connsiteX190" fmla="*/ 11126297 w 12191999"/>
              <a:gd name="connsiteY190" fmla="*/ 6453560 h 6858000"/>
              <a:gd name="connsiteX191" fmla="*/ 11126297 w 12191999"/>
              <a:gd name="connsiteY191" fmla="*/ 6558851 h 6858000"/>
              <a:gd name="connsiteX192" fmla="*/ 11103796 w 12191999"/>
              <a:gd name="connsiteY192" fmla="*/ 6579941 h 6858000"/>
              <a:gd name="connsiteX193" fmla="*/ 11082063 w 12191999"/>
              <a:gd name="connsiteY193" fmla="*/ 6576897 h 6858000"/>
              <a:gd name="connsiteX194" fmla="*/ 11082063 w 12191999"/>
              <a:gd name="connsiteY194" fmla="*/ 6453560 h 6858000"/>
              <a:gd name="connsiteX195" fmla="*/ 11078228 w 12191999"/>
              <a:gd name="connsiteY195" fmla="*/ 6449715 h 6858000"/>
              <a:gd name="connsiteX196" fmla="*/ 11034027 w 12191999"/>
              <a:gd name="connsiteY196" fmla="*/ 6449715 h 6858000"/>
              <a:gd name="connsiteX197" fmla="*/ 11030175 w 12191999"/>
              <a:gd name="connsiteY197" fmla="*/ 6453560 h 6858000"/>
              <a:gd name="connsiteX198" fmla="*/ 11030175 w 12191999"/>
              <a:gd name="connsiteY198" fmla="*/ 6558851 h 6858000"/>
              <a:gd name="connsiteX199" fmla="*/ 11011492 w 12191999"/>
              <a:gd name="connsiteY199" fmla="*/ 6579941 h 6858000"/>
              <a:gd name="connsiteX200" fmla="*/ 10985674 w 12191999"/>
              <a:gd name="connsiteY200" fmla="*/ 6577197 h 6858000"/>
              <a:gd name="connsiteX201" fmla="*/ 10985674 w 12191999"/>
              <a:gd name="connsiteY201" fmla="*/ 6453560 h 6858000"/>
              <a:gd name="connsiteX202" fmla="*/ 10981855 w 12191999"/>
              <a:gd name="connsiteY202" fmla="*/ 6449715 h 6858000"/>
              <a:gd name="connsiteX203" fmla="*/ 10855478 w 12191999"/>
              <a:gd name="connsiteY203" fmla="*/ 6449715 h 6858000"/>
              <a:gd name="connsiteX204" fmla="*/ 10855478 w 12191999"/>
              <a:gd name="connsiteY204" fmla="*/ 6400922 h 6858000"/>
              <a:gd name="connsiteX205" fmla="*/ 10850532 w 12191999"/>
              <a:gd name="connsiteY205" fmla="*/ 6395735 h 6858000"/>
              <a:gd name="connsiteX206" fmla="*/ 10847257 w 12191999"/>
              <a:gd name="connsiteY206" fmla="*/ 6396277 h 6858000"/>
              <a:gd name="connsiteX207" fmla="*/ 10809315 w 12191999"/>
              <a:gd name="connsiteY207" fmla="*/ 6402866 h 6858000"/>
              <a:gd name="connsiteX208" fmla="*/ 10803858 w 12191999"/>
              <a:gd name="connsiteY208" fmla="*/ 6410529 h 6858000"/>
              <a:gd name="connsiteX209" fmla="*/ 10803858 w 12191999"/>
              <a:gd name="connsiteY209" fmla="*/ 6449724 h 6858000"/>
              <a:gd name="connsiteX210" fmla="*/ 10732979 w 12191999"/>
              <a:gd name="connsiteY210" fmla="*/ 6449724 h 6858000"/>
              <a:gd name="connsiteX211" fmla="*/ 10732979 w 12191999"/>
              <a:gd name="connsiteY211" fmla="*/ 6432470 h 6858000"/>
              <a:gd name="connsiteX212" fmla="*/ 10736822 w 12191999"/>
              <a:gd name="connsiteY212" fmla="*/ 6420119 h 6858000"/>
              <a:gd name="connsiteX213" fmla="*/ 10751403 w 12191999"/>
              <a:gd name="connsiteY213" fmla="*/ 6416583 h 6858000"/>
              <a:gd name="connsiteX214" fmla="*/ 10766493 w 12191999"/>
              <a:gd name="connsiteY214" fmla="*/ 6417934 h 6858000"/>
              <a:gd name="connsiteX215" fmla="*/ 10768415 w 12191999"/>
              <a:gd name="connsiteY215" fmla="*/ 6418201 h 6858000"/>
              <a:gd name="connsiteX216" fmla="*/ 10772233 w 12191999"/>
              <a:gd name="connsiteY216" fmla="*/ 6418760 h 6858000"/>
              <a:gd name="connsiteX217" fmla="*/ 10774982 w 12191999"/>
              <a:gd name="connsiteY217" fmla="*/ 6414916 h 6858000"/>
              <a:gd name="connsiteX218" fmla="*/ 10778324 w 12191999"/>
              <a:gd name="connsiteY218" fmla="*/ 6392983 h 6858000"/>
              <a:gd name="connsiteX219" fmla="*/ 10778575 w 12191999"/>
              <a:gd name="connsiteY219" fmla="*/ 6390524 h 6858000"/>
              <a:gd name="connsiteX220" fmla="*/ 10775550 w 12191999"/>
              <a:gd name="connsiteY220" fmla="*/ 6386128 h 6858000"/>
              <a:gd name="connsiteX221" fmla="*/ 10734048 w 12191999"/>
              <a:gd name="connsiteY221" fmla="*/ 6380908 h 6858000"/>
              <a:gd name="connsiteX222" fmla="*/ 10182569 w 12191999"/>
              <a:gd name="connsiteY222" fmla="*/ 6345000 h 6858000"/>
              <a:gd name="connsiteX223" fmla="*/ 10081200 w 12191999"/>
              <a:gd name="connsiteY223" fmla="*/ 6451084 h 6858000"/>
              <a:gd name="connsiteX224" fmla="*/ 10081200 w 12191999"/>
              <a:gd name="connsiteY224" fmla="*/ 6508391 h 6858000"/>
              <a:gd name="connsiteX225" fmla="*/ 10144117 w 12191999"/>
              <a:gd name="connsiteY225" fmla="*/ 6508391 h 6858000"/>
              <a:gd name="connsiteX226" fmla="*/ 10144117 w 12191999"/>
              <a:gd name="connsiteY226" fmla="*/ 6455771 h 6858000"/>
              <a:gd name="connsiteX227" fmla="*/ 10188627 w 12191999"/>
              <a:gd name="connsiteY227" fmla="*/ 6407244 h 6858000"/>
              <a:gd name="connsiteX228" fmla="*/ 10210853 w 12191999"/>
              <a:gd name="connsiteY228" fmla="*/ 6407244 h 6858000"/>
              <a:gd name="connsiteX229" fmla="*/ 10217470 w 12191999"/>
              <a:gd name="connsiteY229" fmla="*/ 6345000 h 6858000"/>
              <a:gd name="connsiteX230" fmla="*/ 0 w 12191999"/>
              <a:gd name="connsiteY230" fmla="*/ 0 h 6858000"/>
              <a:gd name="connsiteX231" fmla="*/ 12191999 w 12191999"/>
              <a:gd name="connsiteY231" fmla="*/ 0 h 6858000"/>
              <a:gd name="connsiteX232" fmla="*/ 12191999 w 12191999"/>
              <a:gd name="connsiteY232" fmla="*/ 6858000 h 6858000"/>
              <a:gd name="connsiteX233" fmla="*/ 0 w 12191999"/>
              <a:gd name="connsiteY23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Lst>
            <a:rect l="l" t="t" r="r" b="b"/>
            <a:pathLst>
              <a:path w="12191999" h="6858000">
                <a:moveTo>
                  <a:pt x="11298788" y="6533358"/>
                </a:moveTo>
                <a:lnTo>
                  <a:pt x="11298788" y="6577748"/>
                </a:lnTo>
                <a:cubicBezTo>
                  <a:pt x="11297151" y="6578323"/>
                  <a:pt x="11288361" y="6580508"/>
                  <a:pt x="11277098" y="6580508"/>
                </a:cubicBezTo>
                <a:cubicBezTo>
                  <a:pt x="11266653" y="6580500"/>
                  <a:pt x="11251296" y="6578315"/>
                  <a:pt x="11251296" y="6559126"/>
                </a:cubicBezTo>
                <a:cubicBezTo>
                  <a:pt x="11251296" y="6541847"/>
                  <a:pt x="11260069" y="6539654"/>
                  <a:pt x="11271583" y="6537753"/>
                </a:cubicBezTo>
                <a:close/>
                <a:moveTo>
                  <a:pt x="10560747" y="6479619"/>
                </a:moveTo>
                <a:cubicBezTo>
                  <a:pt x="10584945" y="6479619"/>
                  <a:pt x="10586349" y="6493888"/>
                  <a:pt x="10586349" y="6528988"/>
                </a:cubicBezTo>
                <a:cubicBezTo>
                  <a:pt x="10586349" y="6563788"/>
                  <a:pt x="10584953" y="6577739"/>
                  <a:pt x="10560747" y="6577739"/>
                </a:cubicBezTo>
                <a:cubicBezTo>
                  <a:pt x="10536608" y="6577739"/>
                  <a:pt x="10535246" y="6563788"/>
                  <a:pt x="10535246" y="6528988"/>
                </a:cubicBezTo>
                <a:cubicBezTo>
                  <a:pt x="10535246" y="6493888"/>
                  <a:pt x="10536617" y="6479619"/>
                  <a:pt x="10560747" y="6479619"/>
                </a:cubicBezTo>
                <a:close/>
                <a:moveTo>
                  <a:pt x="11568237" y="6479077"/>
                </a:moveTo>
                <a:cubicBezTo>
                  <a:pt x="11583069" y="6479077"/>
                  <a:pt x="11589928" y="6484823"/>
                  <a:pt x="11592661" y="6494421"/>
                </a:cubicBezTo>
                <a:cubicBezTo>
                  <a:pt x="11594332" y="6500184"/>
                  <a:pt x="11594332" y="6509499"/>
                  <a:pt x="11594332" y="6515511"/>
                </a:cubicBezTo>
                <a:lnTo>
                  <a:pt x="11594332" y="6519889"/>
                </a:lnTo>
                <a:lnTo>
                  <a:pt x="11542987" y="6519889"/>
                </a:lnTo>
                <a:lnTo>
                  <a:pt x="11542987" y="6517179"/>
                </a:lnTo>
                <a:cubicBezTo>
                  <a:pt x="11542987" y="6512801"/>
                  <a:pt x="11543229" y="6502627"/>
                  <a:pt x="11544357" y="6496340"/>
                </a:cubicBezTo>
                <a:cubicBezTo>
                  <a:pt x="11546505" y="6485899"/>
                  <a:pt x="11552312" y="6479077"/>
                  <a:pt x="11568237" y="6479077"/>
                </a:cubicBezTo>
                <a:close/>
                <a:moveTo>
                  <a:pt x="11720656" y="6460415"/>
                </a:moveTo>
                <a:lnTo>
                  <a:pt x="11725886" y="6460415"/>
                </a:lnTo>
                <a:lnTo>
                  <a:pt x="11733582" y="6487000"/>
                </a:lnTo>
                <a:lnTo>
                  <a:pt x="11712977" y="6487000"/>
                </a:lnTo>
                <a:close/>
                <a:moveTo>
                  <a:pt x="11710245" y="6450024"/>
                </a:moveTo>
                <a:cubicBezTo>
                  <a:pt x="11709668" y="6450024"/>
                  <a:pt x="11709417" y="6450533"/>
                  <a:pt x="11709167" y="6450850"/>
                </a:cubicBezTo>
                <a:lnTo>
                  <a:pt x="11687317" y="6515787"/>
                </a:lnTo>
                <a:cubicBezTo>
                  <a:pt x="11687317" y="6515787"/>
                  <a:pt x="11687033" y="6516646"/>
                  <a:pt x="11687033" y="6516896"/>
                </a:cubicBezTo>
                <a:cubicBezTo>
                  <a:pt x="11687033" y="6517180"/>
                  <a:pt x="11687317" y="6517455"/>
                  <a:pt x="11687827" y="6517455"/>
                </a:cubicBezTo>
                <a:lnTo>
                  <a:pt x="11703886" y="6517455"/>
                </a:lnTo>
                <a:cubicBezTo>
                  <a:pt x="11704488" y="6517455"/>
                  <a:pt x="11704747" y="6516896"/>
                  <a:pt x="11705014" y="6516329"/>
                </a:cubicBezTo>
                <a:lnTo>
                  <a:pt x="11709977" y="6497716"/>
                </a:lnTo>
                <a:lnTo>
                  <a:pt x="11736581" y="6497716"/>
                </a:lnTo>
                <a:lnTo>
                  <a:pt x="11741528" y="6516329"/>
                </a:lnTo>
                <a:cubicBezTo>
                  <a:pt x="11741779" y="6516905"/>
                  <a:pt x="11742113" y="6517455"/>
                  <a:pt x="11742656" y="6517455"/>
                </a:cubicBezTo>
                <a:lnTo>
                  <a:pt x="11757763" y="6517455"/>
                </a:lnTo>
                <a:cubicBezTo>
                  <a:pt x="11758272" y="6517455"/>
                  <a:pt x="11758573" y="6517188"/>
                  <a:pt x="11758573" y="6516896"/>
                </a:cubicBezTo>
                <a:cubicBezTo>
                  <a:pt x="11758573" y="6516646"/>
                  <a:pt x="11758272" y="6515787"/>
                  <a:pt x="11758272" y="6515787"/>
                </a:cubicBezTo>
                <a:lnTo>
                  <a:pt x="11737442" y="6450850"/>
                </a:lnTo>
                <a:cubicBezTo>
                  <a:pt x="11737158" y="6450533"/>
                  <a:pt x="11736581" y="6450024"/>
                  <a:pt x="11736314" y="6450024"/>
                </a:cubicBezTo>
                <a:close/>
                <a:moveTo>
                  <a:pt x="10188067" y="6449732"/>
                </a:moveTo>
                <a:lnTo>
                  <a:pt x="10188067" y="6496048"/>
                </a:lnTo>
                <a:cubicBezTo>
                  <a:pt x="10188067" y="6528438"/>
                  <a:pt x="10174898" y="6547343"/>
                  <a:pt x="10143574" y="6547343"/>
                </a:cubicBezTo>
                <a:lnTo>
                  <a:pt x="10120796" y="6547343"/>
                </a:lnTo>
                <a:lnTo>
                  <a:pt x="10114179" y="6609537"/>
                </a:lnTo>
                <a:lnTo>
                  <a:pt x="10146874" y="6609537"/>
                </a:lnTo>
                <a:cubicBezTo>
                  <a:pt x="10205104" y="6609537"/>
                  <a:pt x="10250959" y="6567341"/>
                  <a:pt x="10250959" y="6500735"/>
                </a:cubicBezTo>
                <a:lnTo>
                  <a:pt x="10250959" y="6449732"/>
                </a:lnTo>
                <a:close/>
                <a:moveTo>
                  <a:pt x="11804146" y="6448589"/>
                </a:moveTo>
                <a:cubicBezTo>
                  <a:pt x="11779999" y="6448623"/>
                  <a:pt x="11769822" y="6457988"/>
                  <a:pt x="11769822" y="6483747"/>
                </a:cubicBezTo>
                <a:cubicBezTo>
                  <a:pt x="11769822" y="6508931"/>
                  <a:pt x="11778060" y="6518563"/>
                  <a:pt x="11805809" y="6518563"/>
                </a:cubicBezTo>
                <a:cubicBezTo>
                  <a:pt x="11812677" y="6518563"/>
                  <a:pt x="11820916" y="6517454"/>
                  <a:pt x="11825035" y="6516645"/>
                </a:cubicBezTo>
                <a:lnTo>
                  <a:pt x="11824792" y="6516645"/>
                </a:lnTo>
                <a:cubicBezTo>
                  <a:pt x="11829739" y="6515294"/>
                  <a:pt x="11830800" y="6513343"/>
                  <a:pt x="11830800" y="6508698"/>
                </a:cubicBezTo>
                <a:lnTo>
                  <a:pt x="11830800" y="6480678"/>
                </a:lnTo>
                <a:cubicBezTo>
                  <a:pt x="11830800" y="6479886"/>
                  <a:pt x="11830516" y="6479619"/>
                  <a:pt x="11829730" y="6479619"/>
                </a:cubicBezTo>
                <a:lnTo>
                  <a:pt x="11804146" y="6479619"/>
                </a:lnTo>
                <a:cubicBezTo>
                  <a:pt x="11803302" y="6479619"/>
                  <a:pt x="11803068" y="6479886"/>
                  <a:pt x="11803068" y="6480678"/>
                </a:cubicBezTo>
                <a:lnTo>
                  <a:pt x="11803068" y="6488917"/>
                </a:lnTo>
                <a:cubicBezTo>
                  <a:pt x="11803068" y="6490026"/>
                  <a:pt x="11803879" y="6490310"/>
                  <a:pt x="11804146" y="6490310"/>
                </a:cubicBezTo>
                <a:lnTo>
                  <a:pt x="11815134" y="6491403"/>
                </a:lnTo>
                <a:lnTo>
                  <a:pt x="11815134" y="6507572"/>
                </a:lnTo>
                <a:cubicBezTo>
                  <a:pt x="11815134" y="6507572"/>
                  <a:pt x="11810463" y="6507856"/>
                  <a:pt x="11806327" y="6507856"/>
                </a:cubicBezTo>
                <a:cubicBezTo>
                  <a:pt x="11793451" y="6507856"/>
                  <a:pt x="11786575" y="6504270"/>
                  <a:pt x="11786575" y="6484273"/>
                </a:cubicBezTo>
                <a:cubicBezTo>
                  <a:pt x="11786575" y="6463466"/>
                  <a:pt x="11793986" y="6460147"/>
                  <a:pt x="11808249" y="6460147"/>
                </a:cubicBezTo>
                <a:cubicBezTo>
                  <a:pt x="11814323" y="6460147"/>
                  <a:pt x="11820631" y="6461223"/>
                  <a:pt x="11824784" y="6462049"/>
                </a:cubicBezTo>
                <a:cubicBezTo>
                  <a:pt x="11825018" y="6462299"/>
                  <a:pt x="11825595" y="6462299"/>
                  <a:pt x="11826138" y="6462299"/>
                </a:cubicBezTo>
                <a:cubicBezTo>
                  <a:pt x="11826138" y="6462299"/>
                  <a:pt x="11827508" y="6462566"/>
                  <a:pt x="11828335" y="6462566"/>
                </a:cubicBezTo>
                <a:cubicBezTo>
                  <a:pt x="11829162" y="6462566"/>
                  <a:pt x="11829404" y="6462040"/>
                  <a:pt x="11829730" y="6460689"/>
                </a:cubicBezTo>
                <a:lnTo>
                  <a:pt x="11830508" y="6456278"/>
                </a:lnTo>
                <a:cubicBezTo>
                  <a:pt x="11830792" y="6455469"/>
                  <a:pt x="11830792" y="6454360"/>
                  <a:pt x="11830792" y="6454101"/>
                </a:cubicBezTo>
                <a:cubicBezTo>
                  <a:pt x="11830792" y="6453276"/>
                  <a:pt x="11829981" y="6453009"/>
                  <a:pt x="11829396" y="6452434"/>
                </a:cubicBezTo>
                <a:cubicBezTo>
                  <a:pt x="11827215" y="6451625"/>
                  <a:pt x="11817615" y="6448589"/>
                  <a:pt x="11804146" y="6448589"/>
                </a:cubicBezTo>
                <a:close/>
                <a:moveTo>
                  <a:pt x="11468798" y="6446454"/>
                </a:moveTo>
                <a:cubicBezTo>
                  <a:pt x="11449831" y="6446454"/>
                  <a:pt x="11429544" y="6448631"/>
                  <a:pt x="11414988" y="6451917"/>
                </a:cubicBezTo>
                <a:cubicBezTo>
                  <a:pt x="11397366" y="6455769"/>
                  <a:pt x="11388050" y="6459055"/>
                  <a:pt x="11388050" y="6469487"/>
                </a:cubicBezTo>
                <a:lnTo>
                  <a:pt x="11388050" y="6603823"/>
                </a:lnTo>
                <a:cubicBezTo>
                  <a:pt x="11388050" y="6606017"/>
                  <a:pt x="11389704" y="6607676"/>
                  <a:pt x="11391919" y="6607676"/>
                </a:cubicBezTo>
                <a:lnTo>
                  <a:pt x="11436086" y="6607676"/>
                </a:lnTo>
                <a:cubicBezTo>
                  <a:pt x="11438300" y="6607676"/>
                  <a:pt x="11439963" y="6606008"/>
                  <a:pt x="11439963" y="6603823"/>
                </a:cubicBezTo>
                <a:lnTo>
                  <a:pt x="11439963" y="6485899"/>
                </a:lnTo>
                <a:cubicBezTo>
                  <a:pt x="11442712" y="6485340"/>
                  <a:pt x="11457259" y="6483455"/>
                  <a:pt x="11474847" y="6483455"/>
                </a:cubicBezTo>
                <a:cubicBezTo>
                  <a:pt x="11480345" y="6483455"/>
                  <a:pt x="11480345" y="6480428"/>
                  <a:pt x="11480345" y="6477109"/>
                </a:cubicBezTo>
                <a:lnTo>
                  <a:pt x="11480345" y="6452750"/>
                </a:lnTo>
                <a:cubicBezTo>
                  <a:pt x="11480345" y="6448055"/>
                  <a:pt x="11478139" y="6446454"/>
                  <a:pt x="11474003" y="6446454"/>
                </a:cubicBezTo>
                <a:close/>
                <a:moveTo>
                  <a:pt x="10401190" y="6445921"/>
                </a:moveTo>
                <a:cubicBezTo>
                  <a:pt x="10374854" y="6445912"/>
                  <a:pt x="10335023" y="6450273"/>
                  <a:pt x="10335023" y="6496039"/>
                </a:cubicBezTo>
                <a:cubicBezTo>
                  <a:pt x="10335023" y="6536076"/>
                  <a:pt x="10361911" y="6541838"/>
                  <a:pt x="10382516" y="6545666"/>
                </a:cubicBezTo>
                <a:lnTo>
                  <a:pt x="10385549" y="6546191"/>
                </a:lnTo>
                <a:cubicBezTo>
                  <a:pt x="10399811" y="6548985"/>
                  <a:pt x="10406153" y="6550603"/>
                  <a:pt x="10406153" y="6563203"/>
                </a:cubicBezTo>
                <a:cubicBezTo>
                  <a:pt x="10406153" y="6575562"/>
                  <a:pt x="10395149" y="6578581"/>
                  <a:pt x="10384972" y="6578581"/>
                </a:cubicBezTo>
                <a:cubicBezTo>
                  <a:pt x="10369339" y="6578581"/>
                  <a:pt x="10350656" y="6574169"/>
                  <a:pt x="10343504" y="6572285"/>
                </a:cubicBezTo>
                <a:lnTo>
                  <a:pt x="10343771" y="6572285"/>
                </a:lnTo>
                <a:cubicBezTo>
                  <a:pt x="10343504" y="6572285"/>
                  <a:pt x="10343211" y="6572034"/>
                  <a:pt x="10342961" y="6572034"/>
                </a:cubicBezTo>
                <a:cubicBezTo>
                  <a:pt x="10341866" y="6571734"/>
                  <a:pt x="10340763" y="6571459"/>
                  <a:pt x="10339936" y="6571459"/>
                </a:cubicBezTo>
                <a:cubicBezTo>
                  <a:pt x="10338583" y="6571459"/>
                  <a:pt x="10337187" y="6572535"/>
                  <a:pt x="10336886" y="6575304"/>
                </a:cubicBezTo>
                <a:lnTo>
                  <a:pt x="10333628" y="6594759"/>
                </a:lnTo>
                <a:cubicBezTo>
                  <a:pt x="10333344" y="6596143"/>
                  <a:pt x="10333068" y="6598028"/>
                  <a:pt x="10333068" y="6598854"/>
                </a:cubicBezTo>
                <a:cubicBezTo>
                  <a:pt x="10333068" y="6600772"/>
                  <a:pt x="10333878" y="6601597"/>
                  <a:pt x="10336076" y="6602698"/>
                </a:cubicBezTo>
                <a:cubicBezTo>
                  <a:pt x="10342150" y="6605208"/>
                  <a:pt x="10366841" y="6611237"/>
                  <a:pt x="10392408" y="6611237"/>
                </a:cubicBezTo>
                <a:cubicBezTo>
                  <a:pt x="10430033" y="6611237"/>
                  <a:pt x="10458567" y="6598036"/>
                  <a:pt x="10458567" y="6558867"/>
                </a:cubicBezTo>
                <a:cubicBezTo>
                  <a:pt x="10458567" y="6521307"/>
                  <a:pt x="10436341" y="6514177"/>
                  <a:pt x="10414935" y="6510324"/>
                </a:cubicBezTo>
                <a:lnTo>
                  <a:pt x="10410481" y="6509516"/>
                </a:lnTo>
                <a:cubicBezTo>
                  <a:pt x="10398174" y="6507322"/>
                  <a:pt x="10387429" y="6505121"/>
                  <a:pt x="10387429" y="6492487"/>
                </a:cubicBezTo>
                <a:cubicBezTo>
                  <a:pt x="10387429" y="6479903"/>
                  <a:pt x="10400355" y="6478285"/>
                  <a:pt x="10409437" y="6478285"/>
                </a:cubicBezTo>
                <a:cubicBezTo>
                  <a:pt x="10421235" y="6478285"/>
                  <a:pt x="10433860" y="6480445"/>
                  <a:pt x="10440202" y="6481821"/>
                </a:cubicBezTo>
                <a:cubicBezTo>
                  <a:pt x="10443745" y="6482663"/>
                  <a:pt x="10444588" y="6482663"/>
                  <a:pt x="10445674" y="6482663"/>
                </a:cubicBezTo>
                <a:cubicBezTo>
                  <a:pt x="10447070" y="6482663"/>
                  <a:pt x="10448950" y="6481270"/>
                  <a:pt x="10449526" y="6479903"/>
                </a:cubicBezTo>
                <a:cubicBezTo>
                  <a:pt x="10450638" y="6473315"/>
                  <a:pt x="10452292" y="6466493"/>
                  <a:pt x="10453378" y="6459872"/>
                </a:cubicBezTo>
                <a:cubicBezTo>
                  <a:pt x="10453378" y="6459872"/>
                  <a:pt x="10453646" y="6458504"/>
                  <a:pt x="10453646" y="6457696"/>
                </a:cubicBezTo>
                <a:cubicBezTo>
                  <a:pt x="10453646" y="6454393"/>
                  <a:pt x="10452292" y="6453042"/>
                  <a:pt x="10447889" y="6451916"/>
                </a:cubicBezTo>
                <a:cubicBezTo>
                  <a:pt x="10439366" y="6449723"/>
                  <a:pt x="10422355" y="6445921"/>
                  <a:pt x="10401190" y="6445921"/>
                </a:cubicBezTo>
                <a:close/>
                <a:moveTo>
                  <a:pt x="11568246" y="6445912"/>
                </a:moveTo>
                <a:cubicBezTo>
                  <a:pt x="11509991" y="6445912"/>
                  <a:pt x="11489963" y="6468637"/>
                  <a:pt x="11489963" y="6529780"/>
                </a:cubicBezTo>
                <a:cubicBezTo>
                  <a:pt x="11489963" y="6591214"/>
                  <a:pt x="11517695" y="6611495"/>
                  <a:pt x="11576752" y="6611495"/>
                </a:cubicBezTo>
                <a:cubicBezTo>
                  <a:pt x="11603130" y="6611495"/>
                  <a:pt x="11623417" y="6604891"/>
                  <a:pt x="11633068" y="6601597"/>
                </a:cubicBezTo>
                <a:cubicBezTo>
                  <a:pt x="11636076" y="6600529"/>
                  <a:pt x="11637187" y="6598311"/>
                  <a:pt x="11637187" y="6596410"/>
                </a:cubicBezTo>
                <a:cubicBezTo>
                  <a:pt x="11637187" y="6595851"/>
                  <a:pt x="11637187" y="6595317"/>
                  <a:pt x="11636936" y="6594200"/>
                </a:cubicBezTo>
                <a:lnTo>
                  <a:pt x="11632533" y="6576112"/>
                </a:lnTo>
                <a:lnTo>
                  <a:pt x="11632533" y="6576379"/>
                </a:lnTo>
                <a:cubicBezTo>
                  <a:pt x="11631438" y="6572543"/>
                  <a:pt x="11629767" y="6571726"/>
                  <a:pt x="11627570" y="6571726"/>
                </a:cubicBezTo>
                <a:cubicBezTo>
                  <a:pt x="11626442" y="6571726"/>
                  <a:pt x="11625071" y="6572026"/>
                  <a:pt x="11623994" y="6572284"/>
                </a:cubicBezTo>
                <a:lnTo>
                  <a:pt x="11624278" y="6572284"/>
                </a:lnTo>
                <a:cubicBezTo>
                  <a:pt x="11616549" y="6574478"/>
                  <a:pt x="11602303" y="6578580"/>
                  <a:pt x="11586085" y="6578580"/>
                </a:cubicBezTo>
                <a:cubicBezTo>
                  <a:pt x="11572632" y="6578580"/>
                  <a:pt x="11563266" y="6577488"/>
                  <a:pt x="11556398" y="6573886"/>
                </a:cubicBezTo>
                <a:cubicBezTo>
                  <a:pt x="11548460" y="6569808"/>
                  <a:pt x="11543505" y="6561585"/>
                  <a:pt x="11543505" y="6549260"/>
                </a:cubicBezTo>
                <a:lnTo>
                  <a:pt x="11636936" y="6549260"/>
                </a:lnTo>
                <a:cubicBezTo>
                  <a:pt x="11643220" y="6549260"/>
                  <a:pt x="11644331" y="6544865"/>
                  <a:pt x="11644331" y="6540754"/>
                </a:cubicBezTo>
                <a:lnTo>
                  <a:pt x="11644331" y="6526210"/>
                </a:lnTo>
                <a:cubicBezTo>
                  <a:pt x="11644331" y="6498800"/>
                  <a:pt x="11639643" y="6477710"/>
                  <a:pt x="11628397" y="6464525"/>
                </a:cubicBezTo>
                <a:cubicBezTo>
                  <a:pt x="11616549" y="6453034"/>
                  <a:pt x="11596805" y="6445912"/>
                  <a:pt x="11568246" y="6445912"/>
                </a:cubicBezTo>
                <a:close/>
                <a:moveTo>
                  <a:pt x="10560747" y="6445912"/>
                </a:moveTo>
                <a:cubicBezTo>
                  <a:pt x="10491547" y="6445912"/>
                  <a:pt x="10482214" y="6482096"/>
                  <a:pt x="10482214" y="6528988"/>
                </a:cubicBezTo>
                <a:cubicBezTo>
                  <a:pt x="10482214" y="6575563"/>
                  <a:pt x="10491547" y="6611496"/>
                  <a:pt x="10560747" y="6611496"/>
                </a:cubicBezTo>
                <a:cubicBezTo>
                  <a:pt x="10629998" y="6611496"/>
                  <a:pt x="10639314" y="6575571"/>
                  <a:pt x="10639314" y="6528988"/>
                </a:cubicBezTo>
                <a:cubicBezTo>
                  <a:pt x="10639314" y="6482096"/>
                  <a:pt x="10629998" y="6445912"/>
                  <a:pt x="10560747" y="6445912"/>
                </a:cubicBezTo>
                <a:close/>
                <a:moveTo>
                  <a:pt x="11283665" y="6445904"/>
                </a:moveTo>
                <a:cubicBezTo>
                  <a:pt x="11250736" y="6445912"/>
                  <a:pt x="11221300" y="6454669"/>
                  <a:pt x="11215576" y="6457112"/>
                </a:cubicBezTo>
                <a:cubicBezTo>
                  <a:pt x="11213654" y="6457988"/>
                  <a:pt x="11211716" y="6459047"/>
                  <a:pt x="11211716" y="6461240"/>
                </a:cubicBezTo>
                <a:lnTo>
                  <a:pt x="11211716" y="6462316"/>
                </a:lnTo>
                <a:cubicBezTo>
                  <a:pt x="11211716" y="6462583"/>
                  <a:pt x="11212000" y="6462875"/>
                  <a:pt x="11212000" y="6463158"/>
                </a:cubicBezTo>
                <a:lnTo>
                  <a:pt x="11217197" y="6485899"/>
                </a:lnTo>
                <a:cubicBezTo>
                  <a:pt x="11217481" y="6487534"/>
                  <a:pt x="11218567" y="6488109"/>
                  <a:pt x="11219979" y="6488109"/>
                </a:cubicBezTo>
                <a:cubicBezTo>
                  <a:pt x="11220523" y="6488109"/>
                  <a:pt x="11221300" y="6488109"/>
                  <a:pt x="11222177" y="6487826"/>
                </a:cubicBezTo>
                <a:cubicBezTo>
                  <a:pt x="11228761" y="6485907"/>
                  <a:pt x="11252925" y="6479620"/>
                  <a:pt x="11271884" y="6479620"/>
                </a:cubicBezTo>
                <a:cubicBezTo>
                  <a:pt x="11281217" y="6479620"/>
                  <a:pt x="11288361" y="6480429"/>
                  <a:pt x="11292171" y="6482330"/>
                </a:cubicBezTo>
                <a:cubicBezTo>
                  <a:pt x="11297978" y="6485107"/>
                  <a:pt x="11298788" y="6490027"/>
                  <a:pt x="11298788" y="6497974"/>
                </a:cubicBezTo>
                <a:lnTo>
                  <a:pt x="11298788" y="6504829"/>
                </a:lnTo>
                <a:lnTo>
                  <a:pt x="11246893" y="6513068"/>
                </a:lnTo>
                <a:cubicBezTo>
                  <a:pt x="11227132" y="6516054"/>
                  <a:pt x="11201564" y="6522100"/>
                  <a:pt x="11201564" y="6559626"/>
                </a:cubicBezTo>
                <a:cubicBezTo>
                  <a:pt x="11201564" y="6606284"/>
                  <a:pt x="11238896" y="6611488"/>
                  <a:pt x="11276245" y="6611488"/>
                </a:cubicBezTo>
                <a:cubicBezTo>
                  <a:pt x="11294134" y="6611488"/>
                  <a:pt x="11308430" y="6610379"/>
                  <a:pt x="11320462" y="6607661"/>
                </a:cubicBezTo>
                <a:cubicBezTo>
                  <a:pt x="11340257" y="6602982"/>
                  <a:pt x="11350467" y="6599138"/>
                  <a:pt x="11350467" y="6576096"/>
                </a:cubicBezTo>
                <a:lnTo>
                  <a:pt x="11350467" y="6493304"/>
                </a:lnTo>
                <a:cubicBezTo>
                  <a:pt x="11350467" y="6476309"/>
                  <a:pt x="11345203" y="6463150"/>
                  <a:pt x="11330639" y="6454936"/>
                </a:cubicBezTo>
                <a:cubicBezTo>
                  <a:pt x="11319953" y="6448906"/>
                  <a:pt x="11304863" y="6445904"/>
                  <a:pt x="11283665" y="6445904"/>
                </a:cubicBezTo>
                <a:close/>
                <a:moveTo>
                  <a:pt x="10734048" y="6380908"/>
                </a:moveTo>
                <a:cubicBezTo>
                  <a:pt x="10697568" y="6380908"/>
                  <a:pt x="10680815" y="6397370"/>
                  <a:pt x="10680815" y="6429993"/>
                </a:cubicBezTo>
                <a:lnTo>
                  <a:pt x="10680815" y="6449715"/>
                </a:lnTo>
                <a:lnTo>
                  <a:pt x="10657453" y="6449715"/>
                </a:lnTo>
                <a:cubicBezTo>
                  <a:pt x="10655256" y="6449715"/>
                  <a:pt x="10653593" y="6451350"/>
                  <a:pt x="10653593" y="6453560"/>
                </a:cubicBezTo>
                <a:lnTo>
                  <a:pt x="10653593" y="6481805"/>
                </a:lnTo>
                <a:cubicBezTo>
                  <a:pt x="10653593" y="6484015"/>
                  <a:pt x="10655264" y="6485658"/>
                  <a:pt x="10657453" y="6485658"/>
                </a:cubicBezTo>
                <a:lnTo>
                  <a:pt x="10680815" y="6485658"/>
                </a:lnTo>
                <a:lnTo>
                  <a:pt x="10680815" y="6603808"/>
                </a:lnTo>
                <a:cubicBezTo>
                  <a:pt x="10680815" y="6606001"/>
                  <a:pt x="10682453" y="6607661"/>
                  <a:pt x="10684650" y="6607661"/>
                </a:cubicBezTo>
                <a:lnTo>
                  <a:pt x="10729152" y="6607661"/>
                </a:lnTo>
                <a:cubicBezTo>
                  <a:pt x="10731333" y="6607661"/>
                  <a:pt x="10732987" y="6605993"/>
                  <a:pt x="10732987" y="6603808"/>
                </a:cubicBezTo>
                <a:lnTo>
                  <a:pt x="10732987" y="6485666"/>
                </a:lnTo>
                <a:lnTo>
                  <a:pt x="10803875" y="6485666"/>
                </a:lnTo>
                <a:lnTo>
                  <a:pt x="10803875" y="6559126"/>
                </a:lnTo>
                <a:cubicBezTo>
                  <a:pt x="10803875" y="6596686"/>
                  <a:pt x="10822825" y="6610112"/>
                  <a:pt x="10860191" y="6610112"/>
                </a:cubicBezTo>
                <a:cubicBezTo>
                  <a:pt x="10881289" y="6610112"/>
                  <a:pt x="10895334" y="6605718"/>
                  <a:pt x="10898610" y="6604608"/>
                </a:cubicBezTo>
                <a:cubicBezTo>
                  <a:pt x="10901618" y="6603516"/>
                  <a:pt x="10902746" y="6602148"/>
                  <a:pt x="10902746" y="6599688"/>
                </a:cubicBezTo>
                <a:cubicBezTo>
                  <a:pt x="10902746" y="6598596"/>
                  <a:pt x="10902495" y="6597228"/>
                  <a:pt x="10902495" y="6597228"/>
                </a:cubicBezTo>
                <a:lnTo>
                  <a:pt x="10898342" y="6575563"/>
                </a:lnTo>
                <a:cubicBezTo>
                  <a:pt x="10897799" y="6573086"/>
                  <a:pt x="10896705" y="6572277"/>
                  <a:pt x="10895050" y="6572277"/>
                </a:cubicBezTo>
                <a:cubicBezTo>
                  <a:pt x="10894800" y="6572277"/>
                  <a:pt x="10893939" y="6572277"/>
                  <a:pt x="10892869" y="6572527"/>
                </a:cubicBezTo>
                <a:cubicBezTo>
                  <a:pt x="10892585" y="6572527"/>
                  <a:pt x="10892026" y="6572811"/>
                  <a:pt x="10891482" y="6572811"/>
                </a:cubicBezTo>
                <a:cubicBezTo>
                  <a:pt x="10887890" y="6573353"/>
                  <a:pt x="10881565" y="6574162"/>
                  <a:pt x="10874170" y="6574162"/>
                </a:cubicBezTo>
                <a:cubicBezTo>
                  <a:pt x="10858219" y="6574162"/>
                  <a:pt x="10855487" y="6566782"/>
                  <a:pt x="10855487" y="6555799"/>
                </a:cubicBezTo>
                <a:lnTo>
                  <a:pt x="10855487" y="6485891"/>
                </a:lnTo>
                <a:lnTo>
                  <a:pt x="10933761" y="6485891"/>
                </a:lnTo>
                <a:lnTo>
                  <a:pt x="10933761" y="6588722"/>
                </a:lnTo>
                <a:cubicBezTo>
                  <a:pt x="10933761" y="6598829"/>
                  <a:pt x="10943111" y="6602132"/>
                  <a:pt x="10960139" y="6605985"/>
                </a:cubicBezTo>
                <a:cubicBezTo>
                  <a:pt x="10973308" y="6608711"/>
                  <a:pt x="10992525" y="6611730"/>
                  <a:pt x="11007123" y="6611730"/>
                </a:cubicBezTo>
                <a:cubicBezTo>
                  <a:pt x="11025229" y="6611730"/>
                  <a:pt x="11043904" y="6608428"/>
                  <a:pt x="11057673" y="6598004"/>
                </a:cubicBezTo>
                <a:cubicBezTo>
                  <a:pt x="11076273" y="6608720"/>
                  <a:pt x="11096936" y="6611730"/>
                  <a:pt x="11116396" y="6611730"/>
                </a:cubicBezTo>
                <a:cubicBezTo>
                  <a:pt x="11153202" y="6611730"/>
                  <a:pt x="11178218" y="6602974"/>
                  <a:pt x="11178218" y="6566215"/>
                </a:cubicBezTo>
                <a:lnTo>
                  <a:pt x="11178218" y="6453560"/>
                </a:lnTo>
                <a:cubicBezTo>
                  <a:pt x="11178218" y="6451350"/>
                  <a:pt x="11176564" y="6449715"/>
                  <a:pt x="11174400" y="6449715"/>
                </a:cubicBezTo>
                <a:lnTo>
                  <a:pt x="11130149" y="6449715"/>
                </a:lnTo>
                <a:cubicBezTo>
                  <a:pt x="11127968" y="6449715"/>
                  <a:pt x="11126297" y="6451350"/>
                  <a:pt x="11126297" y="6453560"/>
                </a:cubicBezTo>
                <a:lnTo>
                  <a:pt x="11126297" y="6558851"/>
                </a:lnTo>
                <a:cubicBezTo>
                  <a:pt x="11126297" y="6575021"/>
                  <a:pt x="11116387" y="6579941"/>
                  <a:pt x="11103796" y="6579941"/>
                </a:cubicBezTo>
                <a:cubicBezTo>
                  <a:pt x="11093903" y="6579941"/>
                  <a:pt x="11082063" y="6576897"/>
                  <a:pt x="11082063" y="6576897"/>
                </a:cubicBezTo>
                <a:lnTo>
                  <a:pt x="11082063" y="6453560"/>
                </a:lnTo>
                <a:cubicBezTo>
                  <a:pt x="11082063" y="6451350"/>
                  <a:pt x="11080425" y="6449715"/>
                  <a:pt x="11078228" y="6449715"/>
                </a:cubicBezTo>
                <a:lnTo>
                  <a:pt x="11034027" y="6449715"/>
                </a:lnTo>
                <a:cubicBezTo>
                  <a:pt x="11031846" y="6449715"/>
                  <a:pt x="11030175" y="6451350"/>
                  <a:pt x="11030175" y="6453560"/>
                </a:cubicBezTo>
                <a:lnTo>
                  <a:pt x="11030175" y="6558851"/>
                </a:lnTo>
                <a:cubicBezTo>
                  <a:pt x="11030175" y="6575021"/>
                  <a:pt x="11023574" y="6579941"/>
                  <a:pt x="11011492" y="6579941"/>
                </a:cubicBezTo>
                <a:cubicBezTo>
                  <a:pt x="11000756" y="6579941"/>
                  <a:pt x="10985674" y="6577197"/>
                  <a:pt x="10985674" y="6577197"/>
                </a:cubicBezTo>
                <a:lnTo>
                  <a:pt x="10985674" y="6453560"/>
                </a:lnTo>
                <a:cubicBezTo>
                  <a:pt x="10985674" y="6451350"/>
                  <a:pt x="10984003" y="6449715"/>
                  <a:pt x="10981855" y="6449715"/>
                </a:cubicBezTo>
                <a:lnTo>
                  <a:pt x="10855478" y="6449715"/>
                </a:lnTo>
                <a:lnTo>
                  <a:pt x="10855478" y="6400922"/>
                </a:lnTo>
                <a:cubicBezTo>
                  <a:pt x="10855478" y="6397370"/>
                  <a:pt x="10853573" y="6395735"/>
                  <a:pt x="10850532" y="6395735"/>
                </a:cubicBezTo>
                <a:cubicBezTo>
                  <a:pt x="10850022" y="6395735"/>
                  <a:pt x="10848627" y="6395986"/>
                  <a:pt x="10847257" y="6396277"/>
                </a:cubicBezTo>
                <a:lnTo>
                  <a:pt x="10809315" y="6402866"/>
                </a:lnTo>
                <a:cubicBezTo>
                  <a:pt x="10805755" y="6403674"/>
                  <a:pt x="10803858" y="6406151"/>
                  <a:pt x="10803858" y="6410529"/>
                </a:cubicBezTo>
                <a:lnTo>
                  <a:pt x="10803858" y="6449724"/>
                </a:lnTo>
                <a:lnTo>
                  <a:pt x="10732979" y="6449724"/>
                </a:lnTo>
                <a:lnTo>
                  <a:pt x="10732979" y="6432470"/>
                </a:lnTo>
                <a:cubicBezTo>
                  <a:pt x="10732979" y="6426741"/>
                  <a:pt x="10733823" y="6422888"/>
                  <a:pt x="10736822" y="6420119"/>
                </a:cubicBezTo>
                <a:cubicBezTo>
                  <a:pt x="10740164" y="6417376"/>
                  <a:pt x="10744234" y="6416583"/>
                  <a:pt x="10751403" y="6416583"/>
                </a:cubicBezTo>
                <a:cubicBezTo>
                  <a:pt x="10756048" y="6416583"/>
                  <a:pt x="10762916" y="6417376"/>
                  <a:pt x="10766493" y="6417934"/>
                </a:cubicBezTo>
                <a:cubicBezTo>
                  <a:pt x="10767036" y="6417934"/>
                  <a:pt x="10767604" y="6418201"/>
                  <a:pt x="10768415" y="6418201"/>
                </a:cubicBezTo>
                <a:cubicBezTo>
                  <a:pt x="10769801" y="6418468"/>
                  <a:pt x="10771448" y="6418760"/>
                  <a:pt x="10772233" y="6418760"/>
                </a:cubicBezTo>
                <a:cubicBezTo>
                  <a:pt x="10774205" y="6418760"/>
                  <a:pt x="10774764" y="6417376"/>
                  <a:pt x="10774982" y="6414916"/>
                </a:cubicBezTo>
                <a:lnTo>
                  <a:pt x="10778324" y="6392983"/>
                </a:lnTo>
                <a:cubicBezTo>
                  <a:pt x="10778324" y="6392983"/>
                  <a:pt x="10778575" y="6391332"/>
                  <a:pt x="10778575" y="6390524"/>
                </a:cubicBezTo>
                <a:cubicBezTo>
                  <a:pt x="10778575" y="6388347"/>
                  <a:pt x="10777764" y="6386954"/>
                  <a:pt x="10775550" y="6386128"/>
                </a:cubicBezTo>
                <a:cubicBezTo>
                  <a:pt x="10771690" y="6385053"/>
                  <a:pt x="10757444" y="6380908"/>
                  <a:pt x="10734048" y="6380908"/>
                </a:cubicBezTo>
                <a:close/>
                <a:moveTo>
                  <a:pt x="10182569" y="6345000"/>
                </a:moveTo>
                <a:cubicBezTo>
                  <a:pt x="10121591" y="6345000"/>
                  <a:pt x="10081200" y="6389974"/>
                  <a:pt x="10081200" y="6451084"/>
                </a:cubicBezTo>
                <a:lnTo>
                  <a:pt x="10081200" y="6508391"/>
                </a:lnTo>
                <a:lnTo>
                  <a:pt x="10144117" y="6508391"/>
                </a:lnTo>
                <a:lnTo>
                  <a:pt x="10144117" y="6455771"/>
                </a:lnTo>
                <a:cubicBezTo>
                  <a:pt x="10144117" y="6422889"/>
                  <a:pt x="10157870" y="6407244"/>
                  <a:pt x="10188627" y="6407244"/>
                </a:cubicBezTo>
                <a:lnTo>
                  <a:pt x="10210853" y="6407244"/>
                </a:lnTo>
                <a:lnTo>
                  <a:pt x="10217470" y="6345000"/>
                </a:lnTo>
                <a:close/>
                <a:moveTo>
                  <a:pt x="0" y="0"/>
                </a:moveTo>
                <a:lnTo>
                  <a:pt x="12191999" y="0"/>
                </a:lnTo>
                <a:lnTo>
                  <a:pt x="12191999" y="6858000"/>
                </a:lnTo>
                <a:lnTo>
                  <a:pt x="0" y="6858000"/>
                </a:lnTo>
                <a:close/>
              </a:path>
            </a:pathLst>
          </a:custGeom>
          <a:pattFill prst="wdUpDiag">
            <a:fgClr>
              <a:schemeClr val="bg1">
                <a:lumMod val="90000"/>
                <a:lumOff val="10000"/>
              </a:schemeClr>
            </a:fgClr>
            <a:bgClr>
              <a:schemeClr val="bg2"/>
            </a:bgClr>
          </a:pattFill>
        </p:spPr>
        <p:txBody>
          <a:bodyPr vert="horz" wrap="square" lIns="0" tIns="0" rIns="0" bIns="583200" rtlCol="0" anchor="ctr" anchorCtr="1">
            <a:noAutofit/>
          </a:bodyPr>
          <a:lstStyle>
            <a:lvl1pPr>
              <a:defRPr lang="en-US" baseline="0" dirty="0"/>
            </a:lvl1pPr>
          </a:lstStyle>
          <a:p>
            <a:pPr lvl="0"/>
            <a:r>
              <a:rPr lang="en-US" dirty="0"/>
              <a:t>Click to add image</a:t>
            </a:r>
          </a:p>
        </p:txBody>
      </p:sp>
      <p:sp>
        <p:nvSpPr>
          <p:cNvPr id="10" name="Layout Support" hidden="1">
            <a:extLst>
              <a:ext uri="{FF2B5EF4-FFF2-40B4-BE49-F238E27FC236}">
                <a16:creationId xmlns:a16="http://schemas.microsoft.com/office/drawing/2014/main" id="{8F5FC4F9-5CE8-481A-A642-E1DF52A1CE1E}"/>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D00001</a:t>
            </a:r>
          </a:p>
        </p:txBody>
      </p:sp>
    </p:spTree>
    <p:extLst>
      <p:ext uri="{BB962C8B-B14F-4D97-AF65-F5344CB8AC3E}">
        <p14:creationId xmlns:p14="http://schemas.microsoft.com/office/powerpoint/2010/main" val="1716652538"/>
      </p:ext>
    </p:extLst>
  </p:cSld>
  <p:clrMapOvr>
    <a:overrideClrMapping bg1="dk1" tx1="lt1" bg2="dk2" tx2="lt2" accent1="accent1" accent2="accent2" accent3="accent3" accent4="accent4" accent5="accent5" accent6="accent6" hlink="hlink" folHlink="folHlink"/>
  </p:clrMapOvr>
  <p:hf hdr="0" dt="0"/>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Closing Slide&#10;- Light -" preserve="1">
  <p:cSld name="Closing Slide - Light -">
    <p:bg>
      <p:bgRef idx="1001">
        <a:schemeClr val="bg2"/>
      </p:bgRef>
    </p:bg>
    <p:spTree>
      <p:nvGrpSpPr>
        <p:cNvPr id="1" name=""/>
        <p:cNvGrpSpPr/>
        <p:nvPr/>
      </p:nvGrpSpPr>
      <p:grpSpPr>
        <a:xfrm>
          <a:off x="0" y="0"/>
          <a:ext cx="0" cy="0"/>
          <a:chOff x="0" y="0"/>
          <a:chExt cx="0" cy="0"/>
        </a:xfrm>
      </p:grpSpPr>
      <p:sp>
        <p:nvSpPr>
          <p:cNvPr id="8" name="MIO_VALID_LAYOUT" hidden="1">
            <a:extLst>
              <a:ext uri="{FF2B5EF4-FFF2-40B4-BE49-F238E27FC236}">
                <a16:creationId xmlns:a16="http://schemas.microsoft.com/office/drawing/2014/main" id="{B0B4D747-F844-4C31-803F-20135C1BBA7C}"/>
              </a:ext>
            </a:extLst>
          </p:cNvPr>
          <p:cNvSpPr/>
          <p:nvPr userDrawn="1"/>
        </p:nvSpPr>
        <p:spPr>
          <a:xfrm>
            <a:off x="11640300" y="220663"/>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p:nvSpPr>
          <p:cNvPr id="9" name="MIO_AGENDA_LAST_SLIDE" hidden="1">
            <a:extLst>
              <a:ext uri="{FF2B5EF4-FFF2-40B4-BE49-F238E27FC236}">
                <a16:creationId xmlns:a16="http://schemas.microsoft.com/office/drawing/2014/main" id="{0BAEC3C0-5AAF-45B5-A591-6C7647E9FF66}"/>
              </a:ext>
            </a:extLst>
          </p:cNvPr>
          <p:cNvSpPr/>
          <p:nvPr userDrawn="1"/>
        </p:nvSpPr>
        <p:spPr>
          <a:xfrm>
            <a:off x="116356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p:nvSpPr>
          <p:cNvPr id="10" name="MIO_AGENDA_IGNORE_NAVIGATION" hidden="1">
            <a:extLst>
              <a:ext uri="{FF2B5EF4-FFF2-40B4-BE49-F238E27FC236}">
                <a16:creationId xmlns:a16="http://schemas.microsoft.com/office/drawing/2014/main" id="{DB5F91EE-C393-4FFB-ADC5-A85F49BC152D}"/>
              </a:ext>
            </a:extLst>
          </p:cNvPr>
          <p:cNvSpPr/>
          <p:nvPr userDrawn="1"/>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p:nvSpPr>
          <p:cNvPr id="11" name="MIO_AGENDA_IGNORE_CHAPTER_REFERENCE" hidden="1">
            <a:extLst>
              <a:ext uri="{FF2B5EF4-FFF2-40B4-BE49-F238E27FC236}">
                <a16:creationId xmlns:a16="http://schemas.microsoft.com/office/drawing/2014/main" id="{EEF9B0CF-3D06-4472-AEFC-2E2B2B0EDDBB}"/>
              </a:ext>
            </a:extLst>
          </p:cNvPr>
          <p:cNvSpPr/>
          <p:nvPr userDrawn="1"/>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useBgFill="1">
        <p:nvSpPr>
          <p:cNvPr id="7" name="Background">
            <a:extLst>
              <a:ext uri="{FF2B5EF4-FFF2-40B4-BE49-F238E27FC236}">
                <a16:creationId xmlns:a16="http://schemas.microsoft.com/office/drawing/2014/main" id="{1B3D9E8E-469A-4EA9-BF21-36697E32A62C}"/>
              </a:ext>
            </a:extLst>
          </p:cNvPr>
          <p:cNvSpPr/>
          <p:nvPr userDrawn="1"/>
        </p:nvSpPr>
        <p:spPr>
          <a:xfrm>
            <a:off x="0" y="0"/>
            <a:ext cx="12192000" cy="6858000"/>
          </a:xfrm>
          <a:prstGeom prst="rect">
            <a:avLst/>
          </a:prstGeom>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p>
        </p:txBody>
      </p:sp>
      <p:sp>
        <p:nvSpPr>
          <p:cNvPr id="3" name="Date Placeholder 2">
            <a:extLst>
              <a:ext uri="{FF2B5EF4-FFF2-40B4-BE49-F238E27FC236}">
                <a16:creationId xmlns:a16="http://schemas.microsoft.com/office/drawing/2014/main" id="{0AD82286-C30F-4038-A217-F20E3362B0DA}"/>
              </a:ext>
            </a:extLst>
          </p:cNvPr>
          <p:cNvSpPr>
            <a:spLocks noGrp="1"/>
          </p:cNvSpPr>
          <p:nvPr>
            <p:ph type="dt" sz="half" idx="2"/>
          </p:nvPr>
        </p:nvSpPr>
        <p:spPr/>
        <p:txBody>
          <a:bodyPr/>
          <a:lstStyle>
            <a:lvl1pPr>
              <a:defRPr baseline="0"/>
            </a:lvl1pPr>
          </a:lstStyle>
          <a:p>
            <a:fld id="{E4BC88E4-0D26-41E6-8DE3-67CA588048C0}" type="datetime1">
              <a:rPr lang="en-US"/>
              <a:pPr/>
              <a:t>1/29/2022</a:t>
            </a:fld>
            <a:endParaRPr lang="en-US" dirty="0"/>
          </a:p>
        </p:txBody>
      </p:sp>
      <p:sp>
        <p:nvSpPr>
          <p:cNvPr id="4" name="Footer Placeholder 3">
            <a:extLst>
              <a:ext uri="{FF2B5EF4-FFF2-40B4-BE49-F238E27FC236}">
                <a16:creationId xmlns:a16="http://schemas.microsoft.com/office/drawing/2014/main" id="{BC4534F5-3504-4793-B160-DEAF25F73AB2}"/>
              </a:ext>
            </a:extLst>
          </p:cNvPr>
          <p:cNvSpPr>
            <a:spLocks noGrp="1"/>
          </p:cNvSpPr>
          <p:nvPr>
            <p:ph type="ftr" sz="quarter" idx="3"/>
          </p:nvPr>
        </p:nvSpPr>
        <p:spPr/>
        <p:txBody>
          <a:bodyPr/>
          <a:lstStyle>
            <a:lvl1pPr>
              <a:defRPr baseline="0"/>
            </a:lvl1p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564B3535-3A5F-42B4-86CC-85D82E8ECC2C}"/>
              </a:ext>
            </a:extLst>
          </p:cNvPr>
          <p:cNvSpPr>
            <a:spLocks noGrp="1"/>
          </p:cNvSpPr>
          <p:nvPr>
            <p:ph type="sldNum" sz="quarter" idx="4"/>
          </p:nvPr>
        </p:nvSpPr>
        <p:spPr/>
        <p:txBody>
          <a:bodyPr/>
          <a:lstStyle>
            <a:lvl1pPr>
              <a:defRPr baseline="0"/>
            </a:lvl1pPr>
          </a:lstStyle>
          <a:p>
            <a:fld id="{22FF84AA-2C76-4AF1-8502-73D25D47F37C}" type="slidenum">
              <a:rPr lang="en-US"/>
              <a:pPr/>
              <a:t>‹#›</a:t>
            </a:fld>
            <a:endParaRPr lang="en-US" dirty="0"/>
          </a:p>
        </p:txBody>
      </p:sp>
      <p:sp>
        <p:nvSpPr>
          <p:cNvPr id="6" name="Dynamic SAG LOGO">
            <a:extLst>
              <a:ext uri="{FF2B5EF4-FFF2-40B4-BE49-F238E27FC236}">
                <a16:creationId xmlns:a16="http://schemas.microsoft.com/office/drawing/2014/main" id="{307A16DA-CBBD-4919-8525-0F93D1AD2CEF}"/>
              </a:ext>
            </a:extLst>
          </p:cNvPr>
          <p:cNvSpPr>
            <a:spLocks noChangeAspect="1" noEditPoints="1"/>
          </p:cNvSpPr>
          <p:nvPr userDrawn="1"/>
        </p:nvSpPr>
        <p:spPr bwMode="auto">
          <a:xfrm>
            <a:off x="2908111" y="2593503"/>
            <a:ext cx="6375778" cy="972000"/>
          </a:xfrm>
          <a:custGeom>
            <a:avLst/>
            <a:gdLst>
              <a:gd name="T0" fmla="*/ 1015 w 1141"/>
              <a:gd name="T1" fmla="*/ 164 h 174"/>
              <a:gd name="T2" fmla="*/ 1008 w 1141"/>
              <a:gd name="T3" fmla="*/ 148 h 174"/>
              <a:gd name="T4" fmla="*/ 962 w 1141"/>
              <a:gd name="T5" fmla="*/ 149 h 174"/>
              <a:gd name="T6" fmla="*/ 1019 w 1141"/>
              <a:gd name="T7" fmla="*/ 118 h 174"/>
              <a:gd name="T8" fmla="*/ 828 w 1141"/>
              <a:gd name="T9" fmla="*/ 96 h 174"/>
              <a:gd name="T10" fmla="*/ 737 w 1141"/>
              <a:gd name="T11" fmla="*/ 76 h 174"/>
              <a:gd name="T12" fmla="*/ 743 w 1141"/>
              <a:gd name="T13" fmla="*/ 93 h 174"/>
              <a:gd name="T14" fmla="*/ 794 w 1141"/>
              <a:gd name="T15" fmla="*/ 100 h 174"/>
              <a:gd name="T16" fmla="*/ 779 w 1141"/>
              <a:gd name="T17" fmla="*/ 174 h 174"/>
              <a:gd name="T18" fmla="*/ 198 w 1141"/>
              <a:gd name="T19" fmla="*/ 131 h 174"/>
              <a:gd name="T20" fmla="*/ 171 w 1141"/>
              <a:gd name="T21" fmla="*/ 148 h 174"/>
              <a:gd name="T22" fmla="*/ 165 w 1141"/>
              <a:gd name="T23" fmla="*/ 163 h 174"/>
              <a:gd name="T24" fmla="*/ 246 w 1141"/>
              <a:gd name="T25" fmla="*/ 139 h 174"/>
              <a:gd name="T26" fmla="*/ 214 w 1141"/>
              <a:gd name="T27" fmla="*/ 87 h 174"/>
              <a:gd name="T28" fmla="*/ 243 w 1141"/>
              <a:gd name="T29" fmla="*/ 75 h 174"/>
              <a:gd name="T30" fmla="*/ 165 w 1141"/>
              <a:gd name="T31" fmla="*/ 98 h 174"/>
              <a:gd name="T32" fmla="*/ 41 w 1141"/>
              <a:gd name="T33" fmla="*/ 72 h 174"/>
              <a:gd name="T34" fmla="*/ 66 w 1141"/>
              <a:gd name="T35" fmla="*/ 0 h 174"/>
              <a:gd name="T36" fmla="*/ 794 w 1141"/>
              <a:gd name="T37" fmla="*/ 152 h 174"/>
              <a:gd name="T38" fmla="*/ 794 w 1141"/>
              <a:gd name="T39" fmla="*/ 123 h 174"/>
              <a:gd name="T40" fmla="*/ 954 w 1141"/>
              <a:gd name="T41" fmla="*/ 98 h 174"/>
              <a:gd name="T42" fmla="*/ 987 w 1141"/>
              <a:gd name="T43" fmla="*/ 114 h 174"/>
              <a:gd name="T44" fmla="*/ 653 w 1141"/>
              <a:gd name="T45" fmla="*/ 151 h 174"/>
              <a:gd name="T46" fmla="*/ 619 w 1141"/>
              <a:gd name="T47" fmla="*/ 71 h 174"/>
              <a:gd name="T48" fmla="*/ 590 w 1141"/>
              <a:gd name="T49" fmla="*/ 71 h 174"/>
              <a:gd name="T50" fmla="*/ 502 w 1141"/>
              <a:gd name="T51" fmla="*/ 33 h 174"/>
              <a:gd name="T52" fmla="*/ 471 w 1141"/>
              <a:gd name="T53" fmla="*/ 68 h 174"/>
              <a:gd name="T54" fmla="*/ 437 w 1141"/>
              <a:gd name="T55" fmla="*/ 46 h 174"/>
              <a:gd name="T56" fmla="*/ 452 w 1141"/>
              <a:gd name="T57" fmla="*/ 45 h 174"/>
              <a:gd name="T58" fmla="*/ 426 w 1141"/>
              <a:gd name="T59" fmla="*/ 23 h 174"/>
              <a:gd name="T60" fmla="*/ 373 w 1141"/>
              <a:gd name="T61" fmla="*/ 71 h 174"/>
              <a:gd name="T62" fmla="*/ 391 w 1141"/>
              <a:gd name="T63" fmla="*/ 169 h 174"/>
              <a:gd name="T64" fmla="*/ 425 w 1141"/>
              <a:gd name="T65" fmla="*/ 91 h 174"/>
              <a:gd name="T66" fmla="*/ 533 w 1141"/>
              <a:gd name="T67" fmla="*/ 169 h 174"/>
              <a:gd name="T68" fmla="*/ 531 w 1141"/>
              <a:gd name="T69" fmla="*/ 148 h 174"/>
              <a:gd name="T70" fmla="*/ 505 w 1141"/>
              <a:gd name="T71" fmla="*/ 137 h 174"/>
              <a:gd name="T72" fmla="*/ 573 w 1141"/>
              <a:gd name="T73" fmla="*/ 170 h 174"/>
              <a:gd name="T74" fmla="*/ 715 w 1141"/>
              <a:gd name="T75" fmla="*/ 144 h 174"/>
              <a:gd name="T76" fmla="*/ 682 w 1141"/>
              <a:gd name="T77" fmla="*/ 71 h 174"/>
              <a:gd name="T78" fmla="*/ 908 w 1141"/>
              <a:gd name="T79" fmla="*/ 66 h 174"/>
              <a:gd name="T80" fmla="*/ 852 w 1141"/>
              <a:gd name="T81" fmla="*/ 169 h 174"/>
              <a:gd name="T82" fmla="*/ 886 w 1141"/>
              <a:gd name="T83" fmla="*/ 92 h 174"/>
              <a:gd name="T84" fmla="*/ 313 w 1141"/>
              <a:gd name="T85" fmla="*/ 174 h 174"/>
              <a:gd name="T86" fmla="*/ 296 w 1141"/>
              <a:gd name="T87" fmla="*/ 120 h 174"/>
              <a:gd name="T88" fmla="*/ 296 w 1141"/>
              <a:gd name="T89" fmla="*/ 120 h 174"/>
              <a:gd name="T90" fmla="*/ 1064 w 1141"/>
              <a:gd name="T91" fmla="*/ 92 h 174"/>
              <a:gd name="T92" fmla="*/ 1125 w 1141"/>
              <a:gd name="T93" fmla="*/ 106 h 174"/>
              <a:gd name="T94" fmla="*/ 1138 w 1141"/>
              <a:gd name="T95" fmla="*/ 76 h 174"/>
              <a:gd name="T96" fmla="*/ 1141 w 1141"/>
              <a:gd name="T97" fmla="*/ 71 h 174"/>
              <a:gd name="T98" fmla="*/ 1125 w 1141"/>
              <a:gd name="T99" fmla="*/ 113 h 174"/>
              <a:gd name="T100" fmla="*/ 1141 w 1141"/>
              <a:gd name="T101" fmla="*/ 88 h 174"/>
              <a:gd name="T102" fmla="*/ 1123 w 1141"/>
              <a:gd name="T103" fmla="*/ 94 h 174"/>
              <a:gd name="T104" fmla="*/ 1062 w 1141"/>
              <a:gd name="T105" fmla="*/ 68 h 174"/>
              <a:gd name="T106" fmla="*/ 1048 w 1141"/>
              <a:gd name="T107" fmla="*/ 112 h 174"/>
              <a:gd name="T108" fmla="*/ 1080 w 1141"/>
              <a:gd name="T109" fmla="*/ 99 h 174"/>
              <a:gd name="T110" fmla="*/ 1094 w 1141"/>
              <a:gd name="T111" fmla="*/ 112 h 174"/>
              <a:gd name="T112" fmla="*/ 70 w 1141"/>
              <a:gd name="T113" fmla="*/ 68 h 174"/>
              <a:gd name="T114" fmla="*/ 21 w 1141"/>
              <a:gd name="T115" fmla="*/ 172 h 174"/>
              <a:gd name="T116" fmla="*/ 70 w 1141"/>
              <a:gd name="T117" fmla="*/ 6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41" h="174">
                <a:moveTo>
                  <a:pt x="919" y="120"/>
                </a:moveTo>
                <a:cubicBezTo>
                  <a:pt x="919" y="160"/>
                  <a:pt x="937" y="174"/>
                  <a:pt x="975" y="174"/>
                </a:cubicBezTo>
                <a:cubicBezTo>
                  <a:pt x="992" y="174"/>
                  <a:pt x="1006" y="169"/>
                  <a:pt x="1012" y="167"/>
                </a:cubicBezTo>
                <a:cubicBezTo>
                  <a:pt x="1014" y="167"/>
                  <a:pt x="1015" y="165"/>
                  <a:pt x="1015" y="164"/>
                </a:cubicBezTo>
                <a:cubicBezTo>
                  <a:pt x="1015" y="163"/>
                  <a:pt x="1015" y="163"/>
                  <a:pt x="1015" y="162"/>
                </a:cubicBezTo>
                <a:cubicBezTo>
                  <a:pt x="1012" y="151"/>
                  <a:pt x="1012" y="151"/>
                  <a:pt x="1012" y="151"/>
                </a:cubicBezTo>
                <a:cubicBezTo>
                  <a:pt x="1012" y="151"/>
                  <a:pt x="1012" y="151"/>
                  <a:pt x="1012" y="151"/>
                </a:cubicBezTo>
                <a:cubicBezTo>
                  <a:pt x="1011" y="148"/>
                  <a:pt x="1010" y="148"/>
                  <a:pt x="1008" y="148"/>
                </a:cubicBezTo>
                <a:cubicBezTo>
                  <a:pt x="1008" y="148"/>
                  <a:pt x="1007" y="148"/>
                  <a:pt x="1006" y="148"/>
                </a:cubicBezTo>
                <a:cubicBezTo>
                  <a:pt x="1006" y="148"/>
                  <a:pt x="1006" y="148"/>
                  <a:pt x="1006" y="148"/>
                </a:cubicBezTo>
                <a:cubicBezTo>
                  <a:pt x="1001" y="150"/>
                  <a:pt x="992" y="152"/>
                  <a:pt x="981" y="152"/>
                </a:cubicBezTo>
                <a:cubicBezTo>
                  <a:pt x="973" y="152"/>
                  <a:pt x="966" y="151"/>
                  <a:pt x="962" y="149"/>
                </a:cubicBezTo>
                <a:cubicBezTo>
                  <a:pt x="957" y="146"/>
                  <a:pt x="954" y="141"/>
                  <a:pt x="954" y="133"/>
                </a:cubicBezTo>
                <a:cubicBezTo>
                  <a:pt x="1015" y="133"/>
                  <a:pt x="1015" y="133"/>
                  <a:pt x="1015" y="133"/>
                </a:cubicBezTo>
                <a:cubicBezTo>
                  <a:pt x="1019" y="133"/>
                  <a:pt x="1019" y="130"/>
                  <a:pt x="1019" y="127"/>
                </a:cubicBezTo>
                <a:cubicBezTo>
                  <a:pt x="1019" y="118"/>
                  <a:pt x="1019" y="118"/>
                  <a:pt x="1019" y="118"/>
                </a:cubicBezTo>
                <a:cubicBezTo>
                  <a:pt x="1019" y="100"/>
                  <a:pt x="1016" y="86"/>
                  <a:pt x="1009" y="78"/>
                </a:cubicBezTo>
                <a:cubicBezTo>
                  <a:pt x="1001" y="70"/>
                  <a:pt x="988" y="66"/>
                  <a:pt x="970" y="66"/>
                </a:cubicBezTo>
                <a:cubicBezTo>
                  <a:pt x="932" y="66"/>
                  <a:pt x="919" y="80"/>
                  <a:pt x="919" y="120"/>
                </a:cubicBezTo>
                <a:moveTo>
                  <a:pt x="828" y="96"/>
                </a:moveTo>
                <a:cubicBezTo>
                  <a:pt x="828" y="85"/>
                  <a:pt x="824" y="77"/>
                  <a:pt x="815" y="71"/>
                </a:cubicBezTo>
                <a:cubicBezTo>
                  <a:pt x="808" y="67"/>
                  <a:pt x="798" y="66"/>
                  <a:pt x="784" y="66"/>
                </a:cubicBezTo>
                <a:cubicBezTo>
                  <a:pt x="763" y="66"/>
                  <a:pt x="743" y="71"/>
                  <a:pt x="740" y="73"/>
                </a:cubicBezTo>
                <a:cubicBezTo>
                  <a:pt x="738" y="73"/>
                  <a:pt x="737" y="74"/>
                  <a:pt x="737" y="76"/>
                </a:cubicBezTo>
                <a:cubicBezTo>
                  <a:pt x="737" y="76"/>
                  <a:pt x="737" y="76"/>
                  <a:pt x="737" y="76"/>
                </a:cubicBezTo>
                <a:cubicBezTo>
                  <a:pt x="737" y="76"/>
                  <a:pt x="737" y="77"/>
                  <a:pt x="737" y="77"/>
                </a:cubicBezTo>
                <a:cubicBezTo>
                  <a:pt x="741" y="92"/>
                  <a:pt x="741" y="92"/>
                  <a:pt x="741" y="92"/>
                </a:cubicBezTo>
                <a:cubicBezTo>
                  <a:pt x="741" y="93"/>
                  <a:pt x="742" y="93"/>
                  <a:pt x="743" y="93"/>
                </a:cubicBezTo>
                <a:cubicBezTo>
                  <a:pt x="743" y="93"/>
                  <a:pt x="743" y="93"/>
                  <a:pt x="744" y="93"/>
                </a:cubicBezTo>
                <a:cubicBezTo>
                  <a:pt x="748" y="92"/>
                  <a:pt x="764" y="88"/>
                  <a:pt x="776" y="88"/>
                </a:cubicBezTo>
                <a:cubicBezTo>
                  <a:pt x="783" y="88"/>
                  <a:pt x="787" y="88"/>
                  <a:pt x="790" y="89"/>
                </a:cubicBezTo>
                <a:cubicBezTo>
                  <a:pt x="793" y="91"/>
                  <a:pt x="794" y="94"/>
                  <a:pt x="794" y="100"/>
                </a:cubicBezTo>
                <a:cubicBezTo>
                  <a:pt x="794" y="104"/>
                  <a:pt x="794" y="104"/>
                  <a:pt x="794" y="104"/>
                </a:cubicBezTo>
                <a:cubicBezTo>
                  <a:pt x="760" y="109"/>
                  <a:pt x="760" y="109"/>
                  <a:pt x="760" y="109"/>
                </a:cubicBezTo>
                <a:cubicBezTo>
                  <a:pt x="747" y="111"/>
                  <a:pt x="731" y="115"/>
                  <a:pt x="731" y="140"/>
                </a:cubicBezTo>
                <a:cubicBezTo>
                  <a:pt x="731" y="170"/>
                  <a:pt x="755" y="174"/>
                  <a:pt x="779" y="174"/>
                </a:cubicBezTo>
                <a:cubicBezTo>
                  <a:pt x="791" y="174"/>
                  <a:pt x="800" y="173"/>
                  <a:pt x="808" y="171"/>
                </a:cubicBezTo>
                <a:cubicBezTo>
                  <a:pt x="821" y="168"/>
                  <a:pt x="828" y="166"/>
                  <a:pt x="828" y="151"/>
                </a:cubicBezTo>
                <a:lnTo>
                  <a:pt x="828" y="96"/>
                </a:lnTo>
                <a:close/>
                <a:moveTo>
                  <a:pt x="198" y="131"/>
                </a:moveTo>
                <a:cubicBezTo>
                  <a:pt x="208" y="133"/>
                  <a:pt x="212" y="134"/>
                  <a:pt x="212" y="142"/>
                </a:cubicBezTo>
                <a:cubicBezTo>
                  <a:pt x="212" y="150"/>
                  <a:pt x="205" y="152"/>
                  <a:pt x="198" y="152"/>
                </a:cubicBezTo>
                <a:cubicBezTo>
                  <a:pt x="188" y="152"/>
                  <a:pt x="176" y="149"/>
                  <a:pt x="171" y="148"/>
                </a:cubicBezTo>
                <a:cubicBezTo>
                  <a:pt x="171" y="148"/>
                  <a:pt x="171" y="148"/>
                  <a:pt x="171" y="148"/>
                </a:cubicBezTo>
                <a:cubicBezTo>
                  <a:pt x="171" y="148"/>
                  <a:pt x="171" y="148"/>
                  <a:pt x="171" y="148"/>
                </a:cubicBezTo>
                <a:cubicBezTo>
                  <a:pt x="170" y="148"/>
                  <a:pt x="169" y="148"/>
                  <a:pt x="169" y="148"/>
                </a:cubicBezTo>
                <a:cubicBezTo>
                  <a:pt x="168" y="148"/>
                  <a:pt x="167" y="148"/>
                  <a:pt x="167" y="150"/>
                </a:cubicBezTo>
                <a:cubicBezTo>
                  <a:pt x="165" y="163"/>
                  <a:pt x="165" y="163"/>
                  <a:pt x="165" y="163"/>
                </a:cubicBezTo>
                <a:cubicBezTo>
                  <a:pt x="164" y="164"/>
                  <a:pt x="164" y="165"/>
                  <a:pt x="164" y="165"/>
                </a:cubicBezTo>
                <a:cubicBezTo>
                  <a:pt x="164" y="167"/>
                  <a:pt x="165" y="167"/>
                  <a:pt x="166" y="168"/>
                </a:cubicBezTo>
                <a:cubicBezTo>
                  <a:pt x="170" y="170"/>
                  <a:pt x="186" y="174"/>
                  <a:pt x="203" y="174"/>
                </a:cubicBezTo>
                <a:cubicBezTo>
                  <a:pt x="227" y="174"/>
                  <a:pt x="246" y="165"/>
                  <a:pt x="246" y="139"/>
                </a:cubicBezTo>
                <a:cubicBezTo>
                  <a:pt x="246" y="115"/>
                  <a:pt x="232" y="110"/>
                  <a:pt x="218" y="108"/>
                </a:cubicBezTo>
                <a:cubicBezTo>
                  <a:pt x="215" y="107"/>
                  <a:pt x="215" y="107"/>
                  <a:pt x="215" y="107"/>
                </a:cubicBezTo>
                <a:cubicBezTo>
                  <a:pt x="207" y="106"/>
                  <a:pt x="200" y="104"/>
                  <a:pt x="200" y="96"/>
                </a:cubicBezTo>
                <a:cubicBezTo>
                  <a:pt x="200" y="88"/>
                  <a:pt x="208" y="87"/>
                  <a:pt x="214" y="87"/>
                </a:cubicBezTo>
                <a:cubicBezTo>
                  <a:pt x="222" y="87"/>
                  <a:pt x="230" y="88"/>
                  <a:pt x="234" y="89"/>
                </a:cubicBezTo>
                <a:cubicBezTo>
                  <a:pt x="236" y="90"/>
                  <a:pt x="237" y="90"/>
                  <a:pt x="238" y="90"/>
                </a:cubicBezTo>
                <a:cubicBezTo>
                  <a:pt x="239" y="90"/>
                  <a:pt x="240" y="89"/>
                  <a:pt x="240" y="88"/>
                </a:cubicBezTo>
                <a:cubicBezTo>
                  <a:pt x="241" y="83"/>
                  <a:pt x="242" y="79"/>
                  <a:pt x="243" y="75"/>
                </a:cubicBezTo>
                <a:cubicBezTo>
                  <a:pt x="243" y="75"/>
                  <a:pt x="243" y="74"/>
                  <a:pt x="243" y="73"/>
                </a:cubicBezTo>
                <a:cubicBezTo>
                  <a:pt x="243" y="71"/>
                  <a:pt x="242" y="70"/>
                  <a:pt x="239" y="69"/>
                </a:cubicBezTo>
                <a:cubicBezTo>
                  <a:pt x="234" y="68"/>
                  <a:pt x="222" y="66"/>
                  <a:pt x="209" y="66"/>
                </a:cubicBezTo>
                <a:cubicBezTo>
                  <a:pt x="191" y="66"/>
                  <a:pt x="165" y="68"/>
                  <a:pt x="165" y="98"/>
                </a:cubicBezTo>
                <a:cubicBezTo>
                  <a:pt x="165" y="124"/>
                  <a:pt x="183" y="128"/>
                  <a:pt x="196" y="131"/>
                </a:cubicBezTo>
                <a:lnTo>
                  <a:pt x="198" y="131"/>
                </a:lnTo>
                <a:close/>
                <a:moveTo>
                  <a:pt x="41" y="106"/>
                </a:moveTo>
                <a:cubicBezTo>
                  <a:pt x="41" y="72"/>
                  <a:pt x="41" y="72"/>
                  <a:pt x="41" y="72"/>
                </a:cubicBezTo>
                <a:cubicBezTo>
                  <a:pt x="41" y="50"/>
                  <a:pt x="50" y="40"/>
                  <a:pt x="70" y="40"/>
                </a:cubicBezTo>
                <a:cubicBezTo>
                  <a:pt x="84" y="40"/>
                  <a:pt x="84" y="40"/>
                  <a:pt x="84" y="40"/>
                </a:cubicBezTo>
                <a:cubicBezTo>
                  <a:pt x="89" y="0"/>
                  <a:pt x="89" y="0"/>
                  <a:pt x="89" y="0"/>
                </a:cubicBezTo>
                <a:cubicBezTo>
                  <a:pt x="66" y="0"/>
                  <a:pt x="66" y="0"/>
                  <a:pt x="66" y="0"/>
                </a:cubicBezTo>
                <a:cubicBezTo>
                  <a:pt x="26" y="0"/>
                  <a:pt x="0" y="29"/>
                  <a:pt x="0" y="69"/>
                </a:cubicBezTo>
                <a:cubicBezTo>
                  <a:pt x="0" y="106"/>
                  <a:pt x="0" y="106"/>
                  <a:pt x="0" y="106"/>
                </a:cubicBezTo>
                <a:lnTo>
                  <a:pt x="41" y="106"/>
                </a:lnTo>
                <a:close/>
                <a:moveTo>
                  <a:pt x="794" y="152"/>
                </a:moveTo>
                <a:cubicBezTo>
                  <a:pt x="793" y="152"/>
                  <a:pt x="787" y="153"/>
                  <a:pt x="780" y="153"/>
                </a:cubicBezTo>
                <a:cubicBezTo>
                  <a:pt x="773" y="153"/>
                  <a:pt x="763" y="152"/>
                  <a:pt x="763" y="139"/>
                </a:cubicBezTo>
                <a:cubicBezTo>
                  <a:pt x="763" y="128"/>
                  <a:pt x="769" y="127"/>
                  <a:pt x="776" y="126"/>
                </a:cubicBezTo>
                <a:cubicBezTo>
                  <a:pt x="794" y="123"/>
                  <a:pt x="794" y="123"/>
                  <a:pt x="794" y="123"/>
                </a:cubicBezTo>
                <a:lnTo>
                  <a:pt x="794" y="152"/>
                </a:lnTo>
                <a:close/>
                <a:moveTo>
                  <a:pt x="953" y="114"/>
                </a:moveTo>
                <a:cubicBezTo>
                  <a:pt x="953" y="112"/>
                  <a:pt x="953" y="112"/>
                  <a:pt x="953" y="112"/>
                </a:cubicBezTo>
                <a:cubicBezTo>
                  <a:pt x="953" y="109"/>
                  <a:pt x="953" y="103"/>
                  <a:pt x="954" y="98"/>
                </a:cubicBezTo>
                <a:cubicBezTo>
                  <a:pt x="956" y="92"/>
                  <a:pt x="959" y="87"/>
                  <a:pt x="970" y="87"/>
                </a:cubicBezTo>
                <a:cubicBezTo>
                  <a:pt x="979" y="87"/>
                  <a:pt x="984" y="91"/>
                  <a:pt x="986" y="97"/>
                </a:cubicBezTo>
                <a:cubicBezTo>
                  <a:pt x="987" y="101"/>
                  <a:pt x="987" y="107"/>
                  <a:pt x="987" y="111"/>
                </a:cubicBezTo>
                <a:cubicBezTo>
                  <a:pt x="987" y="114"/>
                  <a:pt x="987" y="114"/>
                  <a:pt x="987" y="114"/>
                </a:cubicBezTo>
                <a:lnTo>
                  <a:pt x="953" y="114"/>
                </a:lnTo>
                <a:close/>
                <a:moveTo>
                  <a:pt x="682" y="139"/>
                </a:moveTo>
                <a:cubicBezTo>
                  <a:pt x="682" y="150"/>
                  <a:pt x="675" y="153"/>
                  <a:pt x="667" y="153"/>
                </a:cubicBezTo>
                <a:cubicBezTo>
                  <a:pt x="660" y="153"/>
                  <a:pt x="653" y="151"/>
                  <a:pt x="653" y="151"/>
                </a:cubicBezTo>
                <a:cubicBezTo>
                  <a:pt x="653" y="71"/>
                  <a:pt x="653" y="71"/>
                  <a:pt x="653" y="71"/>
                </a:cubicBezTo>
                <a:cubicBezTo>
                  <a:pt x="653" y="69"/>
                  <a:pt x="652" y="68"/>
                  <a:pt x="650" y="68"/>
                </a:cubicBezTo>
                <a:cubicBezTo>
                  <a:pt x="621" y="68"/>
                  <a:pt x="621" y="68"/>
                  <a:pt x="621" y="68"/>
                </a:cubicBezTo>
                <a:cubicBezTo>
                  <a:pt x="620" y="68"/>
                  <a:pt x="619" y="69"/>
                  <a:pt x="619" y="71"/>
                </a:cubicBezTo>
                <a:cubicBezTo>
                  <a:pt x="619" y="139"/>
                  <a:pt x="619" y="139"/>
                  <a:pt x="619" y="139"/>
                </a:cubicBezTo>
                <a:cubicBezTo>
                  <a:pt x="619" y="150"/>
                  <a:pt x="615" y="153"/>
                  <a:pt x="607" y="153"/>
                </a:cubicBezTo>
                <a:cubicBezTo>
                  <a:pt x="600" y="153"/>
                  <a:pt x="590" y="151"/>
                  <a:pt x="590" y="151"/>
                </a:cubicBezTo>
                <a:cubicBezTo>
                  <a:pt x="590" y="71"/>
                  <a:pt x="590" y="71"/>
                  <a:pt x="590" y="71"/>
                </a:cubicBezTo>
                <a:cubicBezTo>
                  <a:pt x="590" y="69"/>
                  <a:pt x="589" y="68"/>
                  <a:pt x="587" y="68"/>
                </a:cubicBezTo>
                <a:cubicBezTo>
                  <a:pt x="505" y="68"/>
                  <a:pt x="505" y="68"/>
                  <a:pt x="505" y="68"/>
                </a:cubicBezTo>
                <a:cubicBezTo>
                  <a:pt x="505" y="36"/>
                  <a:pt x="505" y="36"/>
                  <a:pt x="505" y="36"/>
                </a:cubicBezTo>
                <a:cubicBezTo>
                  <a:pt x="505" y="34"/>
                  <a:pt x="504" y="33"/>
                  <a:pt x="502" y="33"/>
                </a:cubicBezTo>
                <a:cubicBezTo>
                  <a:pt x="501" y="33"/>
                  <a:pt x="500" y="33"/>
                  <a:pt x="500" y="33"/>
                </a:cubicBezTo>
                <a:cubicBezTo>
                  <a:pt x="475" y="37"/>
                  <a:pt x="475" y="37"/>
                  <a:pt x="475" y="37"/>
                </a:cubicBezTo>
                <a:cubicBezTo>
                  <a:pt x="472" y="38"/>
                  <a:pt x="471" y="40"/>
                  <a:pt x="471" y="42"/>
                </a:cubicBezTo>
                <a:cubicBezTo>
                  <a:pt x="471" y="68"/>
                  <a:pt x="471" y="68"/>
                  <a:pt x="471" y="68"/>
                </a:cubicBezTo>
                <a:cubicBezTo>
                  <a:pt x="425" y="68"/>
                  <a:pt x="425" y="68"/>
                  <a:pt x="425" y="68"/>
                </a:cubicBezTo>
                <a:cubicBezTo>
                  <a:pt x="425" y="57"/>
                  <a:pt x="425" y="57"/>
                  <a:pt x="425" y="57"/>
                </a:cubicBezTo>
                <a:cubicBezTo>
                  <a:pt x="425" y="53"/>
                  <a:pt x="426" y="50"/>
                  <a:pt x="427" y="49"/>
                </a:cubicBezTo>
                <a:cubicBezTo>
                  <a:pt x="430" y="47"/>
                  <a:pt x="432" y="46"/>
                  <a:pt x="437" y="46"/>
                </a:cubicBezTo>
                <a:cubicBezTo>
                  <a:pt x="440" y="46"/>
                  <a:pt x="445" y="47"/>
                  <a:pt x="447" y="47"/>
                </a:cubicBezTo>
                <a:cubicBezTo>
                  <a:pt x="447" y="47"/>
                  <a:pt x="448" y="47"/>
                  <a:pt x="448" y="47"/>
                </a:cubicBezTo>
                <a:cubicBezTo>
                  <a:pt x="449" y="48"/>
                  <a:pt x="450" y="48"/>
                  <a:pt x="451" y="48"/>
                </a:cubicBezTo>
                <a:cubicBezTo>
                  <a:pt x="452" y="48"/>
                  <a:pt x="452" y="47"/>
                  <a:pt x="452" y="45"/>
                </a:cubicBezTo>
                <a:cubicBezTo>
                  <a:pt x="455" y="31"/>
                  <a:pt x="455" y="31"/>
                  <a:pt x="455" y="31"/>
                </a:cubicBezTo>
                <a:cubicBezTo>
                  <a:pt x="455" y="31"/>
                  <a:pt x="455" y="30"/>
                  <a:pt x="455" y="29"/>
                </a:cubicBezTo>
                <a:cubicBezTo>
                  <a:pt x="455" y="28"/>
                  <a:pt x="454" y="27"/>
                  <a:pt x="453" y="26"/>
                </a:cubicBezTo>
                <a:cubicBezTo>
                  <a:pt x="450" y="26"/>
                  <a:pt x="441" y="23"/>
                  <a:pt x="426" y="23"/>
                </a:cubicBezTo>
                <a:cubicBezTo>
                  <a:pt x="402" y="23"/>
                  <a:pt x="391" y="34"/>
                  <a:pt x="391" y="55"/>
                </a:cubicBezTo>
                <a:cubicBezTo>
                  <a:pt x="391" y="68"/>
                  <a:pt x="391" y="68"/>
                  <a:pt x="391" y="68"/>
                </a:cubicBezTo>
                <a:cubicBezTo>
                  <a:pt x="376" y="68"/>
                  <a:pt x="376" y="68"/>
                  <a:pt x="376" y="68"/>
                </a:cubicBezTo>
                <a:cubicBezTo>
                  <a:pt x="374" y="68"/>
                  <a:pt x="373" y="69"/>
                  <a:pt x="373" y="71"/>
                </a:cubicBezTo>
                <a:cubicBezTo>
                  <a:pt x="373" y="89"/>
                  <a:pt x="373" y="89"/>
                  <a:pt x="373" y="89"/>
                </a:cubicBezTo>
                <a:cubicBezTo>
                  <a:pt x="373" y="90"/>
                  <a:pt x="374" y="91"/>
                  <a:pt x="376" y="91"/>
                </a:cubicBezTo>
                <a:cubicBezTo>
                  <a:pt x="391" y="91"/>
                  <a:pt x="391" y="91"/>
                  <a:pt x="391" y="91"/>
                </a:cubicBezTo>
                <a:cubicBezTo>
                  <a:pt x="391" y="169"/>
                  <a:pt x="391" y="169"/>
                  <a:pt x="391" y="169"/>
                </a:cubicBezTo>
                <a:cubicBezTo>
                  <a:pt x="391" y="170"/>
                  <a:pt x="392" y="171"/>
                  <a:pt x="393" y="171"/>
                </a:cubicBezTo>
                <a:cubicBezTo>
                  <a:pt x="422" y="171"/>
                  <a:pt x="422" y="171"/>
                  <a:pt x="422" y="171"/>
                </a:cubicBezTo>
                <a:cubicBezTo>
                  <a:pt x="424" y="171"/>
                  <a:pt x="425" y="170"/>
                  <a:pt x="425" y="169"/>
                </a:cubicBezTo>
                <a:cubicBezTo>
                  <a:pt x="425" y="91"/>
                  <a:pt x="425" y="91"/>
                  <a:pt x="425" y="91"/>
                </a:cubicBezTo>
                <a:cubicBezTo>
                  <a:pt x="471" y="91"/>
                  <a:pt x="471" y="91"/>
                  <a:pt x="471" y="91"/>
                </a:cubicBezTo>
                <a:cubicBezTo>
                  <a:pt x="471" y="139"/>
                  <a:pt x="471" y="139"/>
                  <a:pt x="471" y="139"/>
                </a:cubicBezTo>
                <a:cubicBezTo>
                  <a:pt x="471" y="164"/>
                  <a:pt x="484" y="173"/>
                  <a:pt x="508" y="173"/>
                </a:cubicBezTo>
                <a:cubicBezTo>
                  <a:pt x="522" y="173"/>
                  <a:pt x="531" y="170"/>
                  <a:pt x="533" y="169"/>
                </a:cubicBezTo>
                <a:cubicBezTo>
                  <a:pt x="535" y="169"/>
                  <a:pt x="536" y="168"/>
                  <a:pt x="536" y="166"/>
                </a:cubicBezTo>
                <a:cubicBezTo>
                  <a:pt x="536" y="165"/>
                  <a:pt x="536" y="164"/>
                  <a:pt x="536" y="164"/>
                </a:cubicBezTo>
                <a:cubicBezTo>
                  <a:pt x="533" y="150"/>
                  <a:pt x="533" y="150"/>
                  <a:pt x="533" y="150"/>
                </a:cubicBezTo>
                <a:cubicBezTo>
                  <a:pt x="532" y="149"/>
                  <a:pt x="532" y="148"/>
                  <a:pt x="531" y="148"/>
                </a:cubicBezTo>
                <a:cubicBezTo>
                  <a:pt x="531" y="148"/>
                  <a:pt x="530" y="148"/>
                  <a:pt x="529" y="148"/>
                </a:cubicBezTo>
                <a:cubicBezTo>
                  <a:pt x="529" y="148"/>
                  <a:pt x="529" y="148"/>
                  <a:pt x="528" y="148"/>
                </a:cubicBezTo>
                <a:cubicBezTo>
                  <a:pt x="526" y="149"/>
                  <a:pt x="522" y="149"/>
                  <a:pt x="517" y="149"/>
                </a:cubicBezTo>
                <a:cubicBezTo>
                  <a:pt x="507" y="149"/>
                  <a:pt x="505" y="144"/>
                  <a:pt x="505" y="137"/>
                </a:cubicBezTo>
                <a:cubicBezTo>
                  <a:pt x="505" y="92"/>
                  <a:pt x="505" y="92"/>
                  <a:pt x="505" y="92"/>
                </a:cubicBezTo>
                <a:cubicBezTo>
                  <a:pt x="556" y="92"/>
                  <a:pt x="556" y="92"/>
                  <a:pt x="556" y="92"/>
                </a:cubicBezTo>
                <a:cubicBezTo>
                  <a:pt x="556" y="159"/>
                  <a:pt x="556" y="159"/>
                  <a:pt x="556" y="159"/>
                </a:cubicBezTo>
                <a:cubicBezTo>
                  <a:pt x="556" y="165"/>
                  <a:pt x="562" y="168"/>
                  <a:pt x="573" y="170"/>
                </a:cubicBezTo>
                <a:cubicBezTo>
                  <a:pt x="582" y="172"/>
                  <a:pt x="594" y="174"/>
                  <a:pt x="604" y="174"/>
                </a:cubicBezTo>
                <a:cubicBezTo>
                  <a:pt x="616" y="174"/>
                  <a:pt x="628" y="172"/>
                  <a:pt x="637" y="165"/>
                </a:cubicBezTo>
                <a:cubicBezTo>
                  <a:pt x="649" y="172"/>
                  <a:pt x="662" y="174"/>
                  <a:pt x="675" y="174"/>
                </a:cubicBezTo>
                <a:cubicBezTo>
                  <a:pt x="699" y="174"/>
                  <a:pt x="715" y="168"/>
                  <a:pt x="715" y="144"/>
                </a:cubicBezTo>
                <a:cubicBezTo>
                  <a:pt x="715" y="71"/>
                  <a:pt x="715" y="71"/>
                  <a:pt x="715" y="71"/>
                </a:cubicBezTo>
                <a:cubicBezTo>
                  <a:pt x="715" y="69"/>
                  <a:pt x="714" y="68"/>
                  <a:pt x="713" y="68"/>
                </a:cubicBezTo>
                <a:cubicBezTo>
                  <a:pt x="684" y="68"/>
                  <a:pt x="684" y="68"/>
                  <a:pt x="684" y="68"/>
                </a:cubicBezTo>
                <a:cubicBezTo>
                  <a:pt x="683" y="68"/>
                  <a:pt x="682" y="69"/>
                  <a:pt x="682" y="71"/>
                </a:cubicBezTo>
                <a:lnTo>
                  <a:pt x="682" y="139"/>
                </a:lnTo>
                <a:close/>
                <a:moveTo>
                  <a:pt x="912" y="86"/>
                </a:moveTo>
                <a:cubicBezTo>
                  <a:pt x="912" y="70"/>
                  <a:pt x="912" y="70"/>
                  <a:pt x="912" y="70"/>
                </a:cubicBezTo>
                <a:cubicBezTo>
                  <a:pt x="912" y="67"/>
                  <a:pt x="911" y="66"/>
                  <a:pt x="908" y="66"/>
                </a:cubicBezTo>
                <a:cubicBezTo>
                  <a:pt x="905" y="66"/>
                  <a:pt x="905" y="66"/>
                  <a:pt x="905" y="66"/>
                </a:cubicBezTo>
                <a:cubicBezTo>
                  <a:pt x="893" y="66"/>
                  <a:pt x="879" y="67"/>
                  <a:pt x="870" y="69"/>
                </a:cubicBezTo>
                <a:cubicBezTo>
                  <a:pt x="858" y="72"/>
                  <a:pt x="852" y="74"/>
                  <a:pt x="852" y="81"/>
                </a:cubicBezTo>
                <a:cubicBezTo>
                  <a:pt x="852" y="169"/>
                  <a:pt x="852" y="169"/>
                  <a:pt x="852" y="169"/>
                </a:cubicBezTo>
                <a:cubicBezTo>
                  <a:pt x="852" y="170"/>
                  <a:pt x="853" y="171"/>
                  <a:pt x="855" y="171"/>
                </a:cubicBezTo>
                <a:cubicBezTo>
                  <a:pt x="884" y="171"/>
                  <a:pt x="884" y="171"/>
                  <a:pt x="884" y="171"/>
                </a:cubicBezTo>
                <a:cubicBezTo>
                  <a:pt x="885" y="171"/>
                  <a:pt x="886" y="170"/>
                  <a:pt x="886" y="169"/>
                </a:cubicBezTo>
                <a:cubicBezTo>
                  <a:pt x="886" y="92"/>
                  <a:pt x="886" y="92"/>
                  <a:pt x="886" y="92"/>
                </a:cubicBezTo>
                <a:cubicBezTo>
                  <a:pt x="888" y="91"/>
                  <a:pt x="897" y="90"/>
                  <a:pt x="909" y="90"/>
                </a:cubicBezTo>
                <a:cubicBezTo>
                  <a:pt x="912" y="90"/>
                  <a:pt x="912" y="88"/>
                  <a:pt x="912" y="86"/>
                </a:cubicBezTo>
                <a:moveTo>
                  <a:pt x="261" y="120"/>
                </a:moveTo>
                <a:cubicBezTo>
                  <a:pt x="261" y="150"/>
                  <a:pt x="268" y="174"/>
                  <a:pt x="313" y="174"/>
                </a:cubicBezTo>
                <a:cubicBezTo>
                  <a:pt x="358" y="174"/>
                  <a:pt x="364" y="150"/>
                  <a:pt x="364" y="120"/>
                </a:cubicBezTo>
                <a:cubicBezTo>
                  <a:pt x="364" y="89"/>
                  <a:pt x="358" y="66"/>
                  <a:pt x="313" y="66"/>
                </a:cubicBezTo>
                <a:cubicBezTo>
                  <a:pt x="268" y="66"/>
                  <a:pt x="261" y="89"/>
                  <a:pt x="261" y="120"/>
                </a:cubicBezTo>
                <a:moveTo>
                  <a:pt x="296" y="120"/>
                </a:moveTo>
                <a:cubicBezTo>
                  <a:pt x="296" y="97"/>
                  <a:pt x="297" y="88"/>
                  <a:pt x="313" y="88"/>
                </a:cubicBezTo>
                <a:cubicBezTo>
                  <a:pt x="328" y="88"/>
                  <a:pt x="329" y="97"/>
                  <a:pt x="329" y="120"/>
                </a:cubicBezTo>
                <a:cubicBezTo>
                  <a:pt x="329" y="143"/>
                  <a:pt x="328" y="152"/>
                  <a:pt x="313" y="152"/>
                </a:cubicBezTo>
                <a:cubicBezTo>
                  <a:pt x="297" y="152"/>
                  <a:pt x="296" y="143"/>
                  <a:pt x="296" y="120"/>
                </a:cubicBezTo>
                <a:moveTo>
                  <a:pt x="1069" y="75"/>
                </a:moveTo>
                <a:cubicBezTo>
                  <a:pt x="1073" y="75"/>
                  <a:pt x="1073" y="75"/>
                  <a:pt x="1073" y="75"/>
                </a:cubicBezTo>
                <a:cubicBezTo>
                  <a:pt x="1078" y="92"/>
                  <a:pt x="1078" y="92"/>
                  <a:pt x="1078" y="92"/>
                </a:cubicBezTo>
                <a:cubicBezTo>
                  <a:pt x="1064" y="92"/>
                  <a:pt x="1064" y="92"/>
                  <a:pt x="1064" y="92"/>
                </a:cubicBezTo>
                <a:lnTo>
                  <a:pt x="1069" y="75"/>
                </a:lnTo>
                <a:close/>
                <a:moveTo>
                  <a:pt x="1131" y="95"/>
                </a:moveTo>
                <a:cubicBezTo>
                  <a:pt x="1131" y="106"/>
                  <a:pt x="1131" y="106"/>
                  <a:pt x="1131" y="106"/>
                </a:cubicBezTo>
                <a:cubicBezTo>
                  <a:pt x="1131" y="106"/>
                  <a:pt x="1128" y="106"/>
                  <a:pt x="1125" y="106"/>
                </a:cubicBezTo>
                <a:cubicBezTo>
                  <a:pt x="1117" y="106"/>
                  <a:pt x="1112" y="104"/>
                  <a:pt x="1112" y="91"/>
                </a:cubicBezTo>
                <a:cubicBezTo>
                  <a:pt x="1112" y="77"/>
                  <a:pt x="1117" y="75"/>
                  <a:pt x="1126" y="75"/>
                </a:cubicBezTo>
                <a:cubicBezTo>
                  <a:pt x="1130" y="75"/>
                  <a:pt x="1134" y="76"/>
                  <a:pt x="1137" y="76"/>
                </a:cubicBezTo>
                <a:cubicBezTo>
                  <a:pt x="1137" y="76"/>
                  <a:pt x="1138" y="76"/>
                  <a:pt x="1138" y="76"/>
                </a:cubicBezTo>
                <a:cubicBezTo>
                  <a:pt x="1138" y="76"/>
                  <a:pt x="1139" y="76"/>
                  <a:pt x="1139" y="76"/>
                </a:cubicBezTo>
                <a:cubicBezTo>
                  <a:pt x="1140" y="76"/>
                  <a:pt x="1140" y="76"/>
                  <a:pt x="1140" y="75"/>
                </a:cubicBezTo>
                <a:cubicBezTo>
                  <a:pt x="1141" y="72"/>
                  <a:pt x="1141" y="72"/>
                  <a:pt x="1141" y="72"/>
                </a:cubicBezTo>
                <a:cubicBezTo>
                  <a:pt x="1141" y="72"/>
                  <a:pt x="1141" y="71"/>
                  <a:pt x="1141" y="71"/>
                </a:cubicBezTo>
                <a:cubicBezTo>
                  <a:pt x="1141" y="70"/>
                  <a:pt x="1140" y="70"/>
                  <a:pt x="1140" y="70"/>
                </a:cubicBezTo>
                <a:cubicBezTo>
                  <a:pt x="1139" y="69"/>
                  <a:pt x="1132" y="67"/>
                  <a:pt x="1124" y="67"/>
                </a:cubicBezTo>
                <a:cubicBezTo>
                  <a:pt x="1108" y="67"/>
                  <a:pt x="1101" y="73"/>
                  <a:pt x="1101" y="90"/>
                </a:cubicBezTo>
                <a:cubicBezTo>
                  <a:pt x="1101" y="107"/>
                  <a:pt x="1107" y="113"/>
                  <a:pt x="1125" y="113"/>
                </a:cubicBezTo>
                <a:cubicBezTo>
                  <a:pt x="1129" y="113"/>
                  <a:pt x="1135" y="112"/>
                  <a:pt x="1137" y="112"/>
                </a:cubicBezTo>
                <a:cubicBezTo>
                  <a:pt x="1137" y="112"/>
                  <a:pt x="1137" y="112"/>
                  <a:pt x="1137" y="112"/>
                </a:cubicBezTo>
                <a:cubicBezTo>
                  <a:pt x="1140" y="111"/>
                  <a:pt x="1141" y="110"/>
                  <a:pt x="1141" y="107"/>
                </a:cubicBezTo>
                <a:cubicBezTo>
                  <a:pt x="1141" y="88"/>
                  <a:pt x="1141" y="88"/>
                  <a:pt x="1141" y="88"/>
                </a:cubicBezTo>
                <a:cubicBezTo>
                  <a:pt x="1141" y="88"/>
                  <a:pt x="1141" y="88"/>
                  <a:pt x="1140" y="88"/>
                </a:cubicBezTo>
                <a:cubicBezTo>
                  <a:pt x="1124" y="88"/>
                  <a:pt x="1124" y="88"/>
                  <a:pt x="1124" y="88"/>
                </a:cubicBezTo>
                <a:cubicBezTo>
                  <a:pt x="1123" y="88"/>
                  <a:pt x="1123" y="88"/>
                  <a:pt x="1123" y="88"/>
                </a:cubicBezTo>
                <a:cubicBezTo>
                  <a:pt x="1123" y="94"/>
                  <a:pt x="1123" y="94"/>
                  <a:pt x="1123" y="94"/>
                </a:cubicBezTo>
                <a:cubicBezTo>
                  <a:pt x="1123" y="94"/>
                  <a:pt x="1123" y="95"/>
                  <a:pt x="1124" y="95"/>
                </a:cubicBezTo>
                <a:lnTo>
                  <a:pt x="1131" y="95"/>
                </a:lnTo>
                <a:close/>
                <a:moveTo>
                  <a:pt x="1079" y="68"/>
                </a:moveTo>
                <a:cubicBezTo>
                  <a:pt x="1062" y="68"/>
                  <a:pt x="1062" y="68"/>
                  <a:pt x="1062" y="68"/>
                </a:cubicBezTo>
                <a:cubicBezTo>
                  <a:pt x="1062" y="68"/>
                  <a:pt x="1062" y="69"/>
                  <a:pt x="1062" y="69"/>
                </a:cubicBezTo>
                <a:cubicBezTo>
                  <a:pt x="1047" y="111"/>
                  <a:pt x="1047" y="111"/>
                  <a:pt x="1047" y="111"/>
                </a:cubicBezTo>
                <a:cubicBezTo>
                  <a:pt x="1047" y="111"/>
                  <a:pt x="1047" y="112"/>
                  <a:pt x="1047" y="112"/>
                </a:cubicBezTo>
                <a:cubicBezTo>
                  <a:pt x="1047" y="112"/>
                  <a:pt x="1047" y="112"/>
                  <a:pt x="1048" y="112"/>
                </a:cubicBezTo>
                <a:cubicBezTo>
                  <a:pt x="1058" y="112"/>
                  <a:pt x="1058" y="112"/>
                  <a:pt x="1058" y="112"/>
                </a:cubicBezTo>
                <a:cubicBezTo>
                  <a:pt x="1059" y="112"/>
                  <a:pt x="1059" y="112"/>
                  <a:pt x="1059" y="112"/>
                </a:cubicBezTo>
                <a:cubicBezTo>
                  <a:pt x="1062" y="99"/>
                  <a:pt x="1062" y="99"/>
                  <a:pt x="1062" y="99"/>
                </a:cubicBezTo>
                <a:cubicBezTo>
                  <a:pt x="1080" y="99"/>
                  <a:pt x="1080" y="99"/>
                  <a:pt x="1080" y="99"/>
                </a:cubicBezTo>
                <a:cubicBezTo>
                  <a:pt x="1083" y="112"/>
                  <a:pt x="1083" y="112"/>
                  <a:pt x="1083" y="112"/>
                </a:cubicBezTo>
                <a:cubicBezTo>
                  <a:pt x="1083" y="112"/>
                  <a:pt x="1083" y="112"/>
                  <a:pt x="1083" y="112"/>
                </a:cubicBezTo>
                <a:cubicBezTo>
                  <a:pt x="1093" y="112"/>
                  <a:pt x="1093" y="112"/>
                  <a:pt x="1093" y="112"/>
                </a:cubicBezTo>
                <a:cubicBezTo>
                  <a:pt x="1094" y="112"/>
                  <a:pt x="1094" y="112"/>
                  <a:pt x="1094" y="112"/>
                </a:cubicBezTo>
                <a:cubicBezTo>
                  <a:pt x="1094" y="112"/>
                  <a:pt x="1094" y="111"/>
                  <a:pt x="1094" y="111"/>
                </a:cubicBezTo>
                <a:cubicBezTo>
                  <a:pt x="1080" y="69"/>
                  <a:pt x="1080" y="69"/>
                  <a:pt x="1080" y="69"/>
                </a:cubicBezTo>
                <a:cubicBezTo>
                  <a:pt x="1080" y="69"/>
                  <a:pt x="1080" y="68"/>
                  <a:pt x="1079" y="68"/>
                </a:cubicBezTo>
                <a:moveTo>
                  <a:pt x="70" y="68"/>
                </a:moveTo>
                <a:cubicBezTo>
                  <a:pt x="70" y="98"/>
                  <a:pt x="70" y="98"/>
                  <a:pt x="70" y="98"/>
                </a:cubicBezTo>
                <a:cubicBezTo>
                  <a:pt x="70" y="119"/>
                  <a:pt x="61" y="132"/>
                  <a:pt x="41" y="132"/>
                </a:cubicBezTo>
                <a:cubicBezTo>
                  <a:pt x="26" y="132"/>
                  <a:pt x="26" y="132"/>
                  <a:pt x="26" y="132"/>
                </a:cubicBezTo>
                <a:cubicBezTo>
                  <a:pt x="21" y="172"/>
                  <a:pt x="21" y="172"/>
                  <a:pt x="21" y="172"/>
                </a:cubicBezTo>
                <a:cubicBezTo>
                  <a:pt x="43" y="172"/>
                  <a:pt x="43" y="172"/>
                  <a:pt x="43" y="172"/>
                </a:cubicBezTo>
                <a:cubicBezTo>
                  <a:pt x="81" y="172"/>
                  <a:pt x="111" y="145"/>
                  <a:pt x="111" y="101"/>
                </a:cubicBezTo>
                <a:cubicBezTo>
                  <a:pt x="111" y="68"/>
                  <a:pt x="111" y="68"/>
                  <a:pt x="111" y="68"/>
                </a:cubicBezTo>
                <a:lnTo>
                  <a:pt x="70" y="68"/>
                </a:lnTo>
                <a:close/>
              </a:path>
            </a:pathLst>
          </a:custGeom>
          <a:solidFill>
            <a:schemeClr val="tx2"/>
          </a:solidFill>
          <a:ln>
            <a:noFill/>
          </a:ln>
        </p:spPr>
        <p:txBody>
          <a:bodyPr vert="horz" wrap="square" lIns="121920" tIns="60960" rIns="121920" bIns="60960" numCol="1" anchor="t" anchorCtr="0" compatLnSpc="1">
            <a:prstTxWarp prst="textNoShape">
              <a:avLst/>
            </a:prstTxWarp>
          </a:bodyPr>
          <a:lstStyle/>
          <a:p>
            <a:pPr lvl="0"/>
            <a:endParaRPr lang="en-US" sz="2489" baseline="0" dirty="0">
              <a:solidFill>
                <a:srgbClr val="011F3D"/>
              </a:solidFill>
            </a:endParaRPr>
          </a:p>
        </p:txBody>
      </p:sp>
      <p:sp>
        <p:nvSpPr>
          <p:cNvPr id="12" name="Layout Support" hidden="1">
            <a:extLst>
              <a:ext uri="{FF2B5EF4-FFF2-40B4-BE49-F238E27FC236}">
                <a16:creationId xmlns:a16="http://schemas.microsoft.com/office/drawing/2014/main" id="{FE1C0F6C-C183-4824-B2F6-43BFBDA8A489}"/>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L00000</a:t>
            </a:r>
          </a:p>
        </p:txBody>
      </p:sp>
      <p:sp>
        <p:nvSpPr>
          <p:cNvPr id="13" name="Flight Mode" hidden="1">
            <a:extLst>
              <a:ext uri="{FF2B5EF4-FFF2-40B4-BE49-F238E27FC236}">
                <a16:creationId xmlns:a16="http://schemas.microsoft.com/office/drawing/2014/main" id="{C807B188-E4F3-4EE0-BD09-7B5426201566}"/>
              </a:ext>
            </a:extLst>
          </p:cNvPr>
          <p:cNvSpPr/>
          <p:nvPr userDrawn="1">
            <p:custDataLst>
              <p:tags r:id="rId2"/>
            </p:custDataLst>
          </p:nvPr>
        </p:nvSpPr>
        <p:spPr>
          <a:xfrm>
            <a:off x="2209800" y="2131991"/>
            <a:ext cx="7848600" cy="213521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lnSpc>
                <a:spcPct val="120000"/>
              </a:lnSpc>
              <a:spcAft>
                <a:spcPts val="700"/>
              </a:spcAft>
            </a:pPr>
            <a:endParaRPr lang="en-US" dirty="0">
              <a:solidFill>
                <a:schemeClr val="tx1"/>
              </a:solidFill>
            </a:endParaRPr>
          </a:p>
        </p:txBody>
      </p:sp>
    </p:spTree>
    <p:extLst>
      <p:ext uri="{BB962C8B-B14F-4D97-AF65-F5344CB8AC3E}">
        <p14:creationId xmlns:p14="http://schemas.microsoft.com/office/powerpoint/2010/main" val="3646776131"/>
      </p:ext>
    </p:extLst>
  </p:cSld>
  <p:clrMapOvr>
    <a:overrideClrMapping bg1="lt1" tx1="dk1" bg2="lt2" tx2="dk2" accent1="accent1" accent2="accent2" accent3="accent3" accent4="accent4" accent5="accent5" accent6="accent6" hlink="hlink" folHlink="folHlink"/>
  </p:clrMapOvr>
  <p:hf hdr="0" dt="0"/>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Closing Slide&#10;- Dark -" preserve="1">
  <p:cSld name="Closing Slide - Dark -">
    <p:bg>
      <p:bgRef idx="1001">
        <a:schemeClr val="bg1"/>
      </p:bgRef>
    </p:bg>
    <p:spTree>
      <p:nvGrpSpPr>
        <p:cNvPr id="1" name=""/>
        <p:cNvGrpSpPr/>
        <p:nvPr/>
      </p:nvGrpSpPr>
      <p:grpSpPr>
        <a:xfrm>
          <a:off x="0" y="0"/>
          <a:ext cx="0" cy="0"/>
          <a:chOff x="0" y="0"/>
          <a:chExt cx="0" cy="0"/>
        </a:xfrm>
      </p:grpSpPr>
      <p:sp>
        <p:nvSpPr>
          <p:cNvPr id="9" name="MIO_AGENDA_LAST_SLIDE" hidden="1">
            <a:extLst>
              <a:ext uri="{FF2B5EF4-FFF2-40B4-BE49-F238E27FC236}">
                <a16:creationId xmlns:a16="http://schemas.microsoft.com/office/drawing/2014/main" id="{23BE63CC-FD9D-4D13-9B51-665AAE495B90}"/>
              </a:ext>
            </a:extLst>
          </p:cNvPr>
          <p:cNvSpPr/>
          <p:nvPr userDrawn="1"/>
        </p:nvSpPr>
        <p:spPr>
          <a:xfrm>
            <a:off x="116356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p:nvSpPr>
          <p:cNvPr id="10" name="MIO_AGENDA_IGNORE_NAVIGATION" hidden="1">
            <a:extLst>
              <a:ext uri="{FF2B5EF4-FFF2-40B4-BE49-F238E27FC236}">
                <a16:creationId xmlns:a16="http://schemas.microsoft.com/office/drawing/2014/main" id="{E63AB4D1-BEF5-4198-A024-48C1B6929C9D}"/>
              </a:ext>
            </a:extLst>
          </p:cNvPr>
          <p:cNvSpPr/>
          <p:nvPr userDrawn="1"/>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p:nvSpPr>
          <p:cNvPr id="11" name="MIO_AGENDA_IGNORE_CHAPTER_REFERENCE" hidden="1">
            <a:extLst>
              <a:ext uri="{FF2B5EF4-FFF2-40B4-BE49-F238E27FC236}">
                <a16:creationId xmlns:a16="http://schemas.microsoft.com/office/drawing/2014/main" id="{DE4D50D0-5CA3-460B-9BBC-D1D8B6375C75}"/>
              </a:ext>
            </a:extLst>
          </p:cNvPr>
          <p:cNvSpPr/>
          <p:nvPr userDrawn="1"/>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useBgFill="1">
        <p:nvSpPr>
          <p:cNvPr id="7" name="Background">
            <a:extLst>
              <a:ext uri="{FF2B5EF4-FFF2-40B4-BE49-F238E27FC236}">
                <a16:creationId xmlns:a16="http://schemas.microsoft.com/office/drawing/2014/main" id="{1B3D9E8E-469A-4EA9-BF21-36697E32A62C}"/>
              </a:ext>
            </a:extLst>
          </p:cNvPr>
          <p:cNvSpPr/>
          <p:nvPr userDrawn="1"/>
        </p:nvSpPr>
        <p:spPr>
          <a:xfrm>
            <a:off x="0" y="0"/>
            <a:ext cx="12192000" cy="6858000"/>
          </a:xfrm>
          <a:prstGeom prst="rect">
            <a:avLst/>
          </a:prstGeom>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p>
        </p:txBody>
      </p:sp>
      <p:sp>
        <p:nvSpPr>
          <p:cNvPr id="3" name="Date Placeholder 2">
            <a:extLst>
              <a:ext uri="{FF2B5EF4-FFF2-40B4-BE49-F238E27FC236}">
                <a16:creationId xmlns:a16="http://schemas.microsoft.com/office/drawing/2014/main" id="{0AD82286-C30F-4038-A217-F20E3362B0DA}"/>
              </a:ext>
            </a:extLst>
          </p:cNvPr>
          <p:cNvSpPr>
            <a:spLocks noGrp="1"/>
          </p:cNvSpPr>
          <p:nvPr>
            <p:ph type="dt" sz="half" idx="2"/>
          </p:nvPr>
        </p:nvSpPr>
        <p:spPr/>
        <p:txBody>
          <a:bodyPr/>
          <a:lstStyle>
            <a:lvl1pPr>
              <a:defRPr baseline="0"/>
            </a:lvl1pPr>
          </a:lstStyle>
          <a:p>
            <a:fld id="{A9585ADC-08B8-45FD-80FE-46AC3DB310D7}" type="datetime1">
              <a:rPr lang="en-US"/>
              <a:pPr/>
              <a:t>1/29/2022</a:t>
            </a:fld>
            <a:endParaRPr lang="en-US" dirty="0"/>
          </a:p>
        </p:txBody>
      </p:sp>
      <p:sp>
        <p:nvSpPr>
          <p:cNvPr id="4" name="Footer Placeholder 3">
            <a:extLst>
              <a:ext uri="{FF2B5EF4-FFF2-40B4-BE49-F238E27FC236}">
                <a16:creationId xmlns:a16="http://schemas.microsoft.com/office/drawing/2014/main" id="{BC4534F5-3504-4793-B160-DEAF25F73AB2}"/>
              </a:ext>
            </a:extLst>
          </p:cNvPr>
          <p:cNvSpPr>
            <a:spLocks noGrp="1"/>
          </p:cNvSpPr>
          <p:nvPr>
            <p:ph type="ftr" sz="quarter" idx="3"/>
          </p:nvPr>
        </p:nvSpPr>
        <p:spPr/>
        <p:txBody>
          <a:bodyPr/>
          <a:lstStyle>
            <a:lvl1pPr>
              <a:defRPr baseline="0"/>
            </a:lvl1p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564B3535-3A5F-42B4-86CC-85D82E8ECC2C}"/>
              </a:ext>
            </a:extLst>
          </p:cNvPr>
          <p:cNvSpPr>
            <a:spLocks noGrp="1"/>
          </p:cNvSpPr>
          <p:nvPr>
            <p:ph type="sldNum" sz="quarter" idx="4"/>
          </p:nvPr>
        </p:nvSpPr>
        <p:spPr/>
        <p:txBody>
          <a:bodyPr/>
          <a:lstStyle>
            <a:lvl1pPr>
              <a:defRPr baseline="0"/>
            </a:lvl1pPr>
          </a:lstStyle>
          <a:p>
            <a:fld id="{22FF84AA-2C76-4AF1-8502-73D25D47F37C}" type="slidenum">
              <a:rPr lang="en-US"/>
              <a:pPr/>
              <a:t>‹#›</a:t>
            </a:fld>
            <a:endParaRPr lang="en-US" dirty="0"/>
          </a:p>
        </p:txBody>
      </p:sp>
      <p:sp>
        <p:nvSpPr>
          <p:cNvPr id="6" name="Dynamic SAG LOGO">
            <a:extLst>
              <a:ext uri="{FF2B5EF4-FFF2-40B4-BE49-F238E27FC236}">
                <a16:creationId xmlns:a16="http://schemas.microsoft.com/office/drawing/2014/main" id="{307A16DA-CBBD-4919-8525-0F93D1AD2CEF}"/>
              </a:ext>
            </a:extLst>
          </p:cNvPr>
          <p:cNvSpPr>
            <a:spLocks noChangeAspect="1" noEditPoints="1"/>
          </p:cNvSpPr>
          <p:nvPr userDrawn="1"/>
        </p:nvSpPr>
        <p:spPr bwMode="auto">
          <a:xfrm>
            <a:off x="2908111" y="2593503"/>
            <a:ext cx="6375778" cy="972000"/>
          </a:xfrm>
          <a:custGeom>
            <a:avLst/>
            <a:gdLst>
              <a:gd name="T0" fmla="*/ 1015 w 1141"/>
              <a:gd name="T1" fmla="*/ 164 h 174"/>
              <a:gd name="T2" fmla="*/ 1008 w 1141"/>
              <a:gd name="T3" fmla="*/ 148 h 174"/>
              <a:gd name="T4" fmla="*/ 962 w 1141"/>
              <a:gd name="T5" fmla="*/ 149 h 174"/>
              <a:gd name="T6" fmla="*/ 1019 w 1141"/>
              <a:gd name="T7" fmla="*/ 118 h 174"/>
              <a:gd name="T8" fmla="*/ 828 w 1141"/>
              <a:gd name="T9" fmla="*/ 96 h 174"/>
              <a:gd name="T10" fmla="*/ 737 w 1141"/>
              <a:gd name="T11" fmla="*/ 76 h 174"/>
              <a:gd name="T12" fmla="*/ 743 w 1141"/>
              <a:gd name="T13" fmla="*/ 93 h 174"/>
              <a:gd name="T14" fmla="*/ 794 w 1141"/>
              <a:gd name="T15" fmla="*/ 100 h 174"/>
              <a:gd name="T16" fmla="*/ 779 w 1141"/>
              <a:gd name="T17" fmla="*/ 174 h 174"/>
              <a:gd name="T18" fmla="*/ 198 w 1141"/>
              <a:gd name="T19" fmla="*/ 131 h 174"/>
              <a:gd name="T20" fmla="*/ 171 w 1141"/>
              <a:gd name="T21" fmla="*/ 148 h 174"/>
              <a:gd name="T22" fmla="*/ 165 w 1141"/>
              <a:gd name="T23" fmla="*/ 163 h 174"/>
              <a:gd name="T24" fmla="*/ 246 w 1141"/>
              <a:gd name="T25" fmla="*/ 139 h 174"/>
              <a:gd name="T26" fmla="*/ 214 w 1141"/>
              <a:gd name="T27" fmla="*/ 87 h 174"/>
              <a:gd name="T28" fmla="*/ 243 w 1141"/>
              <a:gd name="T29" fmla="*/ 75 h 174"/>
              <a:gd name="T30" fmla="*/ 165 w 1141"/>
              <a:gd name="T31" fmla="*/ 98 h 174"/>
              <a:gd name="T32" fmla="*/ 41 w 1141"/>
              <a:gd name="T33" fmla="*/ 72 h 174"/>
              <a:gd name="T34" fmla="*/ 66 w 1141"/>
              <a:gd name="T35" fmla="*/ 0 h 174"/>
              <a:gd name="T36" fmla="*/ 794 w 1141"/>
              <a:gd name="T37" fmla="*/ 152 h 174"/>
              <a:gd name="T38" fmla="*/ 794 w 1141"/>
              <a:gd name="T39" fmla="*/ 123 h 174"/>
              <a:gd name="T40" fmla="*/ 954 w 1141"/>
              <a:gd name="T41" fmla="*/ 98 h 174"/>
              <a:gd name="T42" fmla="*/ 987 w 1141"/>
              <a:gd name="T43" fmla="*/ 114 h 174"/>
              <a:gd name="T44" fmla="*/ 653 w 1141"/>
              <a:gd name="T45" fmla="*/ 151 h 174"/>
              <a:gd name="T46" fmla="*/ 619 w 1141"/>
              <a:gd name="T47" fmla="*/ 71 h 174"/>
              <a:gd name="T48" fmla="*/ 590 w 1141"/>
              <a:gd name="T49" fmla="*/ 71 h 174"/>
              <a:gd name="T50" fmla="*/ 502 w 1141"/>
              <a:gd name="T51" fmla="*/ 33 h 174"/>
              <a:gd name="T52" fmla="*/ 471 w 1141"/>
              <a:gd name="T53" fmla="*/ 68 h 174"/>
              <a:gd name="T54" fmla="*/ 437 w 1141"/>
              <a:gd name="T55" fmla="*/ 46 h 174"/>
              <a:gd name="T56" fmla="*/ 452 w 1141"/>
              <a:gd name="T57" fmla="*/ 45 h 174"/>
              <a:gd name="T58" fmla="*/ 426 w 1141"/>
              <a:gd name="T59" fmla="*/ 23 h 174"/>
              <a:gd name="T60" fmla="*/ 373 w 1141"/>
              <a:gd name="T61" fmla="*/ 71 h 174"/>
              <a:gd name="T62" fmla="*/ 391 w 1141"/>
              <a:gd name="T63" fmla="*/ 169 h 174"/>
              <a:gd name="T64" fmla="*/ 425 w 1141"/>
              <a:gd name="T65" fmla="*/ 91 h 174"/>
              <a:gd name="T66" fmla="*/ 533 w 1141"/>
              <a:gd name="T67" fmla="*/ 169 h 174"/>
              <a:gd name="T68" fmla="*/ 531 w 1141"/>
              <a:gd name="T69" fmla="*/ 148 h 174"/>
              <a:gd name="T70" fmla="*/ 505 w 1141"/>
              <a:gd name="T71" fmla="*/ 137 h 174"/>
              <a:gd name="T72" fmla="*/ 573 w 1141"/>
              <a:gd name="T73" fmla="*/ 170 h 174"/>
              <a:gd name="T74" fmla="*/ 715 w 1141"/>
              <a:gd name="T75" fmla="*/ 144 h 174"/>
              <a:gd name="T76" fmla="*/ 682 w 1141"/>
              <a:gd name="T77" fmla="*/ 71 h 174"/>
              <a:gd name="T78" fmla="*/ 908 w 1141"/>
              <a:gd name="T79" fmla="*/ 66 h 174"/>
              <a:gd name="T80" fmla="*/ 852 w 1141"/>
              <a:gd name="T81" fmla="*/ 169 h 174"/>
              <a:gd name="T82" fmla="*/ 886 w 1141"/>
              <a:gd name="T83" fmla="*/ 92 h 174"/>
              <a:gd name="T84" fmla="*/ 313 w 1141"/>
              <a:gd name="T85" fmla="*/ 174 h 174"/>
              <a:gd name="T86" fmla="*/ 296 w 1141"/>
              <a:gd name="T87" fmla="*/ 120 h 174"/>
              <a:gd name="T88" fmla="*/ 296 w 1141"/>
              <a:gd name="T89" fmla="*/ 120 h 174"/>
              <a:gd name="T90" fmla="*/ 1064 w 1141"/>
              <a:gd name="T91" fmla="*/ 92 h 174"/>
              <a:gd name="T92" fmla="*/ 1125 w 1141"/>
              <a:gd name="T93" fmla="*/ 106 h 174"/>
              <a:gd name="T94" fmla="*/ 1138 w 1141"/>
              <a:gd name="T95" fmla="*/ 76 h 174"/>
              <a:gd name="T96" fmla="*/ 1141 w 1141"/>
              <a:gd name="T97" fmla="*/ 71 h 174"/>
              <a:gd name="T98" fmla="*/ 1125 w 1141"/>
              <a:gd name="T99" fmla="*/ 113 h 174"/>
              <a:gd name="T100" fmla="*/ 1141 w 1141"/>
              <a:gd name="T101" fmla="*/ 88 h 174"/>
              <a:gd name="T102" fmla="*/ 1123 w 1141"/>
              <a:gd name="T103" fmla="*/ 94 h 174"/>
              <a:gd name="T104" fmla="*/ 1062 w 1141"/>
              <a:gd name="T105" fmla="*/ 68 h 174"/>
              <a:gd name="T106" fmla="*/ 1048 w 1141"/>
              <a:gd name="T107" fmla="*/ 112 h 174"/>
              <a:gd name="T108" fmla="*/ 1080 w 1141"/>
              <a:gd name="T109" fmla="*/ 99 h 174"/>
              <a:gd name="T110" fmla="*/ 1094 w 1141"/>
              <a:gd name="T111" fmla="*/ 112 h 174"/>
              <a:gd name="T112" fmla="*/ 70 w 1141"/>
              <a:gd name="T113" fmla="*/ 68 h 174"/>
              <a:gd name="T114" fmla="*/ 21 w 1141"/>
              <a:gd name="T115" fmla="*/ 172 h 174"/>
              <a:gd name="T116" fmla="*/ 70 w 1141"/>
              <a:gd name="T117" fmla="*/ 6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41" h="174">
                <a:moveTo>
                  <a:pt x="919" y="120"/>
                </a:moveTo>
                <a:cubicBezTo>
                  <a:pt x="919" y="160"/>
                  <a:pt x="937" y="174"/>
                  <a:pt x="975" y="174"/>
                </a:cubicBezTo>
                <a:cubicBezTo>
                  <a:pt x="992" y="174"/>
                  <a:pt x="1006" y="169"/>
                  <a:pt x="1012" y="167"/>
                </a:cubicBezTo>
                <a:cubicBezTo>
                  <a:pt x="1014" y="167"/>
                  <a:pt x="1015" y="165"/>
                  <a:pt x="1015" y="164"/>
                </a:cubicBezTo>
                <a:cubicBezTo>
                  <a:pt x="1015" y="163"/>
                  <a:pt x="1015" y="163"/>
                  <a:pt x="1015" y="162"/>
                </a:cubicBezTo>
                <a:cubicBezTo>
                  <a:pt x="1012" y="151"/>
                  <a:pt x="1012" y="151"/>
                  <a:pt x="1012" y="151"/>
                </a:cubicBezTo>
                <a:cubicBezTo>
                  <a:pt x="1012" y="151"/>
                  <a:pt x="1012" y="151"/>
                  <a:pt x="1012" y="151"/>
                </a:cubicBezTo>
                <a:cubicBezTo>
                  <a:pt x="1011" y="148"/>
                  <a:pt x="1010" y="148"/>
                  <a:pt x="1008" y="148"/>
                </a:cubicBezTo>
                <a:cubicBezTo>
                  <a:pt x="1008" y="148"/>
                  <a:pt x="1007" y="148"/>
                  <a:pt x="1006" y="148"/>
                </a:cubicBezTo>
                <a:cubicBezTo>
                  <a:pt x="1006" y="148"/>
                  <a:pt x="1006" y="148"/>
                  <a:pt x="1006" y="148"/>
                </a:cubicBezTo>
                <a:cubicBezTo>
                  <a:pt x="1001" y="150"/>
                  <a:pt x="992" y="152"/>
                  <a:pt x="981" y="152"/>
                </a:cubicBezTo>
                <a:cubicBezTo>
                  <a:pt x="973" y="152"/>
                  <a:pt x="966" y="151"/>
                  <a:pt x="962" y="149"/>
                </a:cubicBezTo>
                <a:cubicBezTo>
                  <a:pt x="957" y="146"/>
                  <a:pt x="954" y="141"/>
                  <a:pt x="954" y="133"/>
                </a:cubicBezTo>
                <a:cubicBezTo>
                  <a:pt x="1015" y="133"/>
                  <a:pt x="1015" y="133"/>
                  <a:pt x="1015" y="133"/>
                </a:cubicBezTo>
                <a:cubicBezTo>
                  <a:pt x="1019" y="133"/>
                  <a:pt x="1019" y="130"/>
                  <a:pt x="1019" y="127"/>
                </a:cubicBezTo>
                <a:cubicBezTo>
                  <a:pt x="1019" y="118"/>
                  <a:pt x="1019" y="118"/>
                  <a:pt x="1019" y="118"/>
                </a:cubicBezTo>
                <a:cubicBezTo>
                  <a:pt x="1019" y="100"/>
                  <a:pt x="1016" y="86"/>
                  <a:pt x="1009" y="78"/>
                </a:cubicBezTo>
                <a:cubicBezTo>
                  <a:pt x="1001" y="70"/>
                  <a:pt x="988" y="66"/>
                  <a:pt x="970" y="66"/>
                </a:cubicBezTo>
                <a:cubicBezTo>
                  <a:pt x="932" y="66"/>
                  <a:pt x="919" y="80"/>
                  <a:pt x="919" y="120"/>
                </a:cubicBezTo>
                <a:moveTo>
                  <a:pt x="828" y="96"/>
                </a:moveTo>
                <a:cubicBezTo>
                  <a:pt x="828" y="85"/>
                  <a:pt x="824" y="77"/>
                  <a:pt x="815" y="71"/>
                </a:cubicBezTo>
                <a:cubicBezTo>
                  <a:pt x="808" y="67"/>
                  <a:pt x="798" y="66"/>
                  <a:pt x="784" y="66"/>
                </a:cubicBezTo>
                <a:cubicBezTo>
                  <a:pt x="763" y="66"/>
                  <a:pt x="743" y="71"/>
                  <a:pt x="740" y="73"/>
                </a:cubicBezTo>
                <a:cubicBezTo>
                  <a:pt x="738" y="73"/>
                  <a:pt x="737" y="74"/>
                  <a:pt x="737" y="76"/>
                </a:cubicBezTo>
                <a:cubicBezTo>
                  <a:pt x="737" y="76"/>
                  <a:pt x="737" y="76"/>
                  <a:pt x="737" y="76"/>
                </a:cubicBezTo>
                <a:cubicBezTo>
                  <a:pt x="737" y="76"/>
                  <a:pt x="737" y="77"/>
                  <a:pt x="737" y="77"/>
                </a:cubicBezTo>
                <a:cubicBezTo>
                  <a:pt x="741" y="92"/>
                  <a:pt x="741" y="92"/>
                  <a:pt x="741" y="92"/>
                </a:cubicBezTo>
                <a:cubicBezTo>
                  <a:pt x="741" y="93"/>
                  <a:pt x="742" y="93"/>
                  <a:pt x="743" y="93"/>
                </a:cubicBezTo>
                <a:cubicBezTo>
                  <a:pt x="743" y="93"/>
                  <a:pt x="743" y="93"/>
                  <a:pt x="744" y="93"/>
                </a:cubicBezTo>
                <a:cubicBezTo>
                  <a:pt x="748" y="92"/>
                  <a:pt x="764" y="88"/>
                  <a:pt x="776" y="88"/>
                </a:cubicBezTo>
                <a:cubicBezTo>
                  <a:pt x="783" y="88"/>
                  <a:pt x="787" y="88"/>
                  <a:pt x="790" y="89"/>
                </a:cubicBezTo>
                <a:cubicBezTo>
                  <a:pt x="793" y="91"/>
                  <a:pt x="794" y="94"/>
                  <a:pt x="794" y="100"/>
                </a:cubicBezTo>
                <a:cubicBezTo>
                  <a:pt x="794" y="104"/>
                  <a:pt x="794" y="104"/>
                  <a:pt x="794" y="104"/>
                </a:cubicBezTo>
                <a:cubicBezTo>
                  <a:pt x="760" y="109"/>
                  <a:pt x="760" y="109"/>
                  <a:pt x="760" y="109"/>
                </a:cubicBezTo>
                <a:cubicBezTo>
                  <a:pt x="747" y="111"/>
                  <a:pt x="731" y="115"/>
                  <a:pt x="731" y="140"/>
                </a:cubicBezTo>
                <a:cubicBezTo>
                  <a:pt x="731" y="170"/>
                  <a:pt x="755" y="174"/>
                  <a:pt x="779" y="174"/>
                </a:cubicBezTo>
                <a:cubicBezTo>
                  <a:pt x="791" y="174"/>
                  <a:pt x="800" y="173"/>
                  <a:pt x="808" y="171"/>
                </a:cubicBezTo>
                <a:cubicBezTo>
                  <a:pt x="821" y="168"/>
                  <a:pt x="828" y="166"/>
                  <a:pt x="828" y="151"/>
                </a:cubicBezTo>
                <a:lnTo>
                  <a:pt x="828" y="96"/>
                </a:lnTo>
                <a:close/>
                <a:moveTo>
                  <a:pt x="198" y="131"/>
                </a:moveTo>
                <a:cubicBezTo>
                  <a:pt x="208" y="133"/>
                  <a:pt x="212" y="134"/>
                  <a:pt x="212" y="142"/>
                </a:cubicBezTo>
                <a:cubicBezTo>
                  <a:pt x="212" y="150"/>
                  <a:pt x="205" y="152"/>
                  <a:pt x="198" y="152"/>
                </a:cubicBezTo>
                <a:cubicBezTo>
                  <a:pt x="188" y="152"/>
                  <a:pt x="176" y="149"/>
                  <a:pt x="171" y="148"/>
                </a:cubicBezTo>
                <a:cubicBezTo>
                  <a:pt x="171" y="148"/>
                  <a:pt x="171" y="148"/>
                  <a:pt x="171" y="148"/>
                </a:cubicBezTo>
                <a:cubicBezTo>
                  <a:pt x="171" y="148"/>
                  <a:pt x="171" y="148"/>
                  <a:pt x="171" y="148"/>
                </a:cubicBezTo>
                <a:cubicBezTo>
                  <a:pt x="170" y="148"/>
                  <a:pt x="169" y="148"/>
                  <a:pt x="169" y="148"/>
                </a:cubicBezTo>
                <a:cubicBezTo>
                  <a:pt x="168" y="148"/>
                  <a:pt x="167" y="148"/>
                  <a:pt x="167" y="150"/>
                </a:cubicBezTo>
                <a:cubicBezTo>
                  <a:pt x="165" y="163"/>
                  <a:pt x="165" y="163"/>
                  <a:pt x="165" y="163"/>
                </a:cubicBezTo>
                <a:cubicBezTo>
                  <a:pt x="164" y="164"/>
                  <a:pt x="164" y="165"/>
                  <a:pt x="164" y="165"/>
                </a:cubicBezTo>
                <a:cubicBezTo>
                  <a:pt x="164" y="167"/>
                  <a:pt x="165" y="167"/>
                  <a:pt x="166" y="168"/>
                </a:cubicBezTo>
                <a:cubicBezTo>
                  <a:pt x="170" y="170"/>
                  <a:pt x="186" y="174"/>
                  <a:pt x="203" y="174"/>
                </a:cubicBezTo>
                <a:cubicBezTo>
                  <a:pt x="227" y="174"/>
                  <a:pt x="246" y="165"/>
                  <a:pt x="246" y="139"/>
                </a:cubicBezTo>
                <a:cubicBezTo>
                  <a:pt x="246" y="115"/>
                  <a:pt x="232" y="110"/>
                  <a:pt x="218" y="108"/>
                </a:cubicBezTo>
                <a:cubicBezTo>
                  <a:pt x="215" y="107"/>
                  <a:pt x="215" y="107"/>
                  <a:pt x="215" y="107"/>
                </a:cubicBezTo>
                <a:cubicBezTo>
                  <a:pt x="207" y="106"/>
                  <a:pt x="200" y="104"/>
                  <a:pt x="200" y="96"/>
                </a:cubicBezTo>
                <a:cubicBezTo>
                  <a:pt x="200" y="88"/>
                  <a:pt x="208" y="87"/>
                  <a:pt x="214" y="87"/>
                </a:cubicBezTo>
                <a:cubicBezTo>
                  <a:pt x="222" y="87"/>
                  <a:pt x="230" y="88"/>
                  <a:pt x="234" y="89"/>
                </a:cubicBezTo>
                <a:cubicBezTo>
                  <a:pt x="236" y="90"/>
                  <a:pt x="237" y="90"/>
                  <a:pt x="238" y="90"/>
                </a:cubicBezTo>
                <a:cubicBezTo>
                  <a:pt x="239" y="90"/>
                  <a:pt x="240" y="89"/>
                  <a:pt x="240" y="88"/>
                </a:cubicBezTo>
                <a:cubicBezTo>
                  <a:pt x="241" y="83"/>
                  <a:pt x="242" y="79"/>
                  <a:pt x="243" y="75"/>
                </a:cubicBezTo>
                <a:cubicBezTo>
                  <a:pt x="243" y="75"/>
                  <a:pt x="243" y="74"/>
                  <a:pt x="243" y="73"/>
                </a:cubicBezTo>
                <a:cubicBezTo>
                  <a:pt x="243" y="71"/>
                  <a:pt x="242" y="70"/>
                  <a:pt x="239" y="69"/>
                </a:cubicBezTo>
                <a:cubicBezTo>
                  <a:pt x="234" y="68"/>
                  <a:pt x="222" y="66"/>
                  <a:pt x="209" y="66"/>
                </a:cubicBezTo>
                <a:cubicBezTo>
                  <a:pt x="191" y="66"/>
                  <a:pt x="165" y="68"/>
                  <a:pt x="165" y="98"/>
                </a:cubicBezTo>
                <a:cubicBezTo>
                  <a:pt x="165" y="124"/>
                  <a:pt x="183" y="128"/>
                  <a:pt x="196" y="131"/>
                </a:cubicBezTo>
                <a:lnTo>
                  <a:pt x="198" y="131"/>
                </a:lnTo>
                <a:close/>
                <a:moveTo>
                  <a:pt x="41" y="106"/>
                </a:moveTo>
                <a:cubicBezTo>
                  <a:pt x="41" y="72"/>
                  <a:pt x="41" y="72"/>
                  <a:pt x="41" y="72"/>
                </a:cubicBezTo>
                <a:cubicBezTo>
                  <a:pt x="41" y="50"/>
                  <a:pt x="50" y="40"/>
                  <a:pt x="70" y="40"/>
                </a:cubicBezTo>
                <a:cubicBezTo>
                  <a:pt x="84" y="40"/>
                  <a:pt x="84" y="40"/>
                  <a:pt x="84" y="40"/>
                </a:cubicBezTo>
                <a:cubicBezTo>
                  <a:pt x="89" y="0"/>
                  <a:pt x="89" y="0"/>
                  <a:pt x="89" y="0"/>
                </a:cubicBezTo>
                <a:cubicBezTo>
                  <a:pt x="66" y="0"/>
                  <a:pt x="66" y="0"/>
                  <a:pt x="66" y="0"/>
                </a:cubicBezTo>
                <a:cubicBezTo>
                  <a:pt x="26" y="0"/>
                  <a:pt x="0" y="29"/>
                  <a:pt x="0" y="69"/>
                </a:cubicBezTo>
                <a:cubicBezTo>
                  <a:pt x="0" y="106"/>
                  <a:pt x="0" y="106"/>
                  <a:pt x="0" y="106"/>
                </a:cubicBezTo>
                <a:lnTo>
                  <a:pt x="41" y="106"/>
                </a:lnTo>
                <a:close/>
                <a:moveTo>
                  <a:pt x="794" y="152"/>
                </a:moveTo>
                <a:cubicBezTo>
                  <a:pt x="793" y="152"/>
                  <a:pt x="787" y="153"/>
                  <a:pt x="780" y="153"/>
                </a:cubicBezTo>
                <a:cubicBezTo>
                  <a:pt x="773" y="153"/>
                  <a:pt x="763" y="152"/>
                  <a:pt x="763" y="139"/>
                </a:cubicBezTo>
                <a:cubicBezTo>
                  <a:pt x="763" y="128"/>
                  <a:pt x="769" y="127"/>
                  <a:pt x="776" y="126"/>
                </a:cubicBezTo>
                <a:cubicBezTo>
                  <a:pt x="794" y="123"/>
                  <a:pt x="794" y="123"/>
                  <a:pt x="794" y="123"/>
                </a:cubicBezTo>
                <a:lnTo>
                  <a:pt x="794" y="152"/>
                </a:lnTo>
                <a:close/>
                <a:moveTo>
                  <a:pt x="953" y="114"/>
                </a:moveTo>
                <a:cubicBezTo>
                  <a:pt x="953" y="112"/>
                  <a:pt x="953" y="112"/>
                  <a:pt x="953" y="112"/>
                </a:cubicBezTo>
                <a:cubicBezTo>
                  <a:pt x="953" y="109"/>
                  <a:pt x="953" y="103"/>
                  <a:pt x="954" y="98"/>
                </a:cubicBezTo>
                <a:cubicBezTo>
                  <a:pt x="956" y="92"/>
                  <a:pt x="959" y="87"/>
                  <a:pt x="970" y="87"/>
                </a:cubicBezTo>
                <a:cubicBezTo>
                  <a:pt x="979" y="87"/>
                  <a:pt x="984" y="91"/>
                  <a:pt x="986" y="97"/>
                </a:cubicBezTo>
                <a:cubicBezTo>
                  <a:pt x="987" y="101"/>
                  <a:pt x="987" y="107"/>
                  <a:pt x="987" y="111"/>
                </a:cubicBezTo>
                <a:cubicBezTo>
                  <a:pt x="987" y="114"/>
                  <a:pt x="987" y="114"/>
                  <a:pt x="987" y="114"/>
                </a:cubicBezTo>
                <a:lnTo>
                  <a:pt x="953" y="114"/>
                </a:lnTo>
                <a:close/>
                <a:moveTo>
                  <a:pt x="682" y="139"/>
                </a:moveTo>
                <a:cubicBezTo>
                  <a:pt x="682" y="150"/>
                  <a:pt x="675" y="153"/>
                  <a:pt x="667" y="153"/>
                </a:cubicBezTo>
                <a:cubicBezTo>
                  <a:pt x="660" y="153"/>
                  <a:pt x="653" y="151"/>
                  <a:pt x="653" y="151"/>
                </a:cubicBezTo>
                <a:cubicBezTo>
                  <a:pt x="653" y="71"/>
                  <a:pt x="653" y="71"/>
                  <a:pt x="653" y="71"/>
                </a:cubicBezTo>
                <a:cubicBezTo>
                  <a:pt x="653" y="69"/>
                  <a:pt x="652" y="68"/>
                  <a:pt x="650" y="68"/>
                </a:cubicBezTo>
                <a:cubicBezTo>
                  <a:pt x="621" y="68"/>
                  <a:pt x="621" y="68"/>
                  <a:pt x="621" y="68"/>
                </a:cubicBezTo>
                <a:cubicBezTo>
                  <a:pt x="620" y="68"/>
                  <a:pt x="619" y="69"/>
                  <a:pt x="619" y="71"/>
                </a:cubicBezTo>
                <a:cubicBezTo>
                  <a:pt x="619" y="139"/>
                  <a:pt x="619" y="139"/>
                  <a:pt x="619" y="139"/>
                </a:cubicBezTo>
                <a:cubicBezTo>
                  <a:pt x="619" y="150"/>
                  <a:pt x="615" y="153"/>
                  <a:pt x="607" y="153"/>
                </a:cubicBezTo>
                <a:cubicBezTo>
                  <a:pt x="600" y="153"/>
                  <a:pt x="590" y="151"/>
                  <a:pt x="590" y="151"/>
                </a:cubicBezTo>
                <a:cubicBezTo>
                  <a:pt x="590" y="71"/>
                  <a:pt x="590" y="71"/>
                  <a:pt x="590" y="71"/>
                </a:cubicBezTo>
                <a:cubicBezTo>
                  <a:pt x="590" y="69"/>
                  <a:pt x="589" y="68"/>
                  <a:pt x="587" y="68"/>
                </a:cubicBezTo>
                <a:cubicBezTo>
                  <a:pt x="505" y="68"/>
                  <a:pt x="505" y="68"/>
                  <a:pt x="505" y="68"/>
                </a:cubicBezTo>
                <a:cubicBezTo>
                  <a:pt x="505" y="36"/>
                  <a:pt x="505" y="36"/>
                  <a:pt x="505" y="36"/>
                </a:cubicBezTo>
                <a:cubicBezTo>
                  <a:pt x="505" y="34"/>
                  <a:pt x="504" y="33"/>
                  <a:pt x="502" y="33"/>
                </a:cubicBezTo>
                <a:cubicBezTo>
                  <a:pt x="501" y="33"/>
                  <a:pt x="500" y="33"/>
                  <a:pt x="500" y="33"/>
                </a:cubicBezTo>
                <a:cubicBezTo>
                  <a:pt x="475" y="37"/>
                  <a:pt x="475" y="37"/>
                  <a:pt x="475" y="37"/>
                </a:cubicBezTo>
                <a:cubicBezTo>
                  <a:pt x="472" y="38"/>
                  <a:pt x="471" y="40"/>
                  <a:pt x="471" y="42"/>
                </a:cubicBezTo>
                <a:cubicBezTo>
                  <a:pt x="471" y="68"/>
                  <a:pt x="471" y="68"/>
                  <a:pt x="471" y="68"/>
                </a:cubicBezTo>
                <a:cubicBezTo>
                  <a:pt x="425" y="68"/>
                  <a:pt x="425" y="68"/>
                  <a:pt x="425" y="68"/>
                </a:cubicBezTo>
                <a:cubicBezTo>
                  <a:pt x="425" y="57"/>
                  <a:pt x="425" y="57"/>
                  <a:pt x="425" y="57"/>
                </a:cubicBezTo>
                <a:cubicBezTo>
                  <a:pt x="425" y="53"/>
                  <a:pt x="426" y="50"/>
                  <a:pt x="427" y="49"/>
                </a:cubicBezTo>
                <a:cubicBezTo>
                  <a:pt x="430" y="47"/>
                  <a:pt x="432" y="46"/>
                  <a:pt x="437" y="46"/>
                </a:cubicBezTo>
                <a:cubicBezTo>
                  <a:pt x="440" y="46"/>
                  <a:pt x="445" y="47"/>
                  <a:pt x="447" y="47"/>
                </a:cubicBezTo>
                <a:cubicBezTo>
                  <a:pt x="447" y="47"/>
                  <a:pt x="448" y="47"/>
                  <a:pt x="448" y="47"/>
                </a:cubicBezTo>
                <a:cubicBezTo>
                  <a:pt x="449" y="48"/>
                  <a:pt x="450" y="48"/>
                  <a:pt x="451" y="48"/>
                </a:cubicBezTo>
                <a:cubicBezTo>
                  <a:pt x="452" y="48"/>
                  <a:pt x="452" y="47"/>
                  <a:pt x="452" y="45"/>
                </a:cubicBezTo>
                <a:cubicBezTo>
                  <a:pt x="455" y="31"/>
                  <a:pt x="455" y="31"/>
                  <a:pt x="455" y="31"/>
                </a:cubicBezTo>
                <a:cubicBezTo>
                  <a:pt x="455" y="31"/>
                  <a:pt x="455" y="30"/>
                  <a:pt x="455" y="29"/>
                </a:cubicBezTo>
                <a:cubicBezTo>
                  <a:pt x="455" y="28"/>
                  <a:pt x="454" y="27"/>
                  <a:pt x="453" y="26"/>
                </a:cubicBezTo>
                <a:cubicBezTo>
                  <a:pt x="450" y="26"/>
                  <a:pt x="441" y="23"/>
                  <a:pt x="426" y="23"/>
                </a:cubicBezTo>
                <a:cubicBezTo>
                  <a:pt x="402" y="23"/>
                  <a:pt x="391" y="34"/>
                  <a:pt x="391" y="55"/>
                </a:cubicBezTo>
                <a:cubicBezTo>
                  <a:pt x="391" y="68"/>
                  <a:pt x="391" y="68"/>
                  <a:pt x="391" y="68"/>
                </a:cubicBezTo>
                <a:cubicBezTo>
                  <a:pt x="376" y="68"/>
                  <a:pt x="376" y="68"/>
                  <a:pt x="376" y="68"/>
                </a:cubicBezTo>
                <a:cubicBezTo>
                  <a:pt x="374" y="68"/>
                  <a:pt x="373" y="69"/>
                  <a:pt x="373" y="71"/>
                </a:cubicBezTo>
                <a:cubicBezTo>
                  <a:pt x="373" y="89"/>
                  <a:pt x="373" y="89"/>
                  <a:pt x="373" y="89"/>
                </a:cubicBezTo>
                <a:cubicBezTo>
                  <a:pt x="373" y="90"/>
                  <a:pt x="374" y="91"/>
                  <a:pt x="376" y="91"/>
                </a:cubicBezTo>
                <a:cubicBezTo>
                  <a:pt x="391" y="91"/>
                  <a:pt x="391" y="91"/>
                  <a:pt x="391" y="91"/>
                </a:cubicBezTo>
                <a:cubicBezTo>
                  <a:pt x="391" y="169"/>
                  <a:pt x="391" y="169"/>
                  <a:pt x="391" y="169"/>
                </a:cubicBezTo>
                <a:cubicBezTo>
                  <a:pt x="391" y="170"/>
                  <a:pt x="392" y="171"/>
                  <a:pt x="393" y="171"/>
                </a:cubicBezTo>
                <a:cubicBezTo>
                  <a:pt x="422" y="171"/>
                  <a:pt x="422" y="171"/>
                  <a:pt x="422" y="171"/>
                </a:cubicBezTo>
                <a:cubicBezTo>
                  <a:pt x="424" y="171"/>
                  <a:pt x="425" y="170"/>
                  <a:pt x="425" y="169"/>
                </a:cubicBezTo>
                <a:cubicBezTo>
                  <a:pt x="425" y="91"/>
                  <a:pt x="425" y="91"/>
                  <a:pt x="425" y="91"/>
                </a:cubicBezTo>
                <a:cubicBezTo>
                  <a:pt x="471" y="91"/>
                  <a:pt x="471" y="91"/>
                  <a:pt x="471" y="91"/>
                </a:cubicBezTo>
                <a:cubicBezTo>
                  <a:pt x="471" y="139"/>
                  <a:pt x="471" y="139"/>
                  <a:pt x="471" y="139"/>
                </a:cubicBezTo>
                <a:cubicBezTo>
                  <a:pt x="471" y="164"/>
                  <a:pt x="484" y="173"/>
                  <a:pt x="508" y="173"/>
                </a:cubicBezTo>
                <a:cubicBezTo>
                  <a:pt x="522" y="173"/>
                  <a:pt x="531" y="170"/>
                  <a:pt x="533" y="169"/>
                </a:cubicBezTo>
                <a:cubicBezTo>
                  <a:pt x="535" y="169"/>
                  <a:pt x="536" y="168"/>
                  <a:pt x="536" y="166"/>
                </a:cubicBezTo>
                <a:cubicBezTo>
                  <a:pt x="536" y="165"/>
                  <a:pt x="536" y="164"/>
                  <a:pt x="536" y="164"/>
                </a:cubicBezTo>
                <a:cubicBezTo>
                  <a:pt x="533" y="150"/>
                  <a:pt x="533" y="150"/>
                  <a:pt x="533" y="150"/>
                </a:cubicBezTo>
                <a:cubicBezTo>
                  <a:pt x="532" y="149"/>
                  <a:pt x="532" y="148"/>
                  <a:pt x="531" y="148"/>
                </a:cubicBezTo>
                <a:cubicBezTo>
                  <a:pt x="531" y="148"/>
                  <a:pt x="530" y="148"/>
                  <a:pt x="529" y="148"/>
                </a:cubicBezTo>
                <a:cubicBezTo>
                  <a:pt x="529" y="148"/>
                  <a:pt x="529" y="148"/>
                  <a:pt x="528" y="148"/>
                </a:cubicBezTo>
                <a:cubicBezTo>
                  <a:pt x="526" y="149"/>
                  <a:pt x="522" y="149"/>
                  <a:pt x="517" y="149"/>
                </a:cubicBezTo>
                <a:cubicBezTo>
                  <a:pt x="507" y="149"/>
                  <a:pt x="505" y="144"/>
                  <a:pt x="505" y="137"/>
                </a:cubicBezTo>
                <a:cubicBezTo>
                  <a:pt x="505" y="92"/>
                  <a:pt x="505" y="92"/>
                  <a:pt x="505" y="92"/>
                </a:cubicBezTo>
                <a:cubicBezTo>
                  <a:pt x="556" y="92"/>
                  <a:pt x="556" y="92"/>
                  <a:pt x="556" y="92"/>
                </a:cubicBezTo>
                <a:cubicBezTo>
                  <a:pt x="556" y="159"/>
                  <a:pt x="556" y="159"/>
                  <a:pt x="556" y="159"/>
                </a:cubicBezTo>
                <a:cubicBezTo>
                  <a:pt x="556" y="165"/>
                  <a:pt x="562" y="168"/>
                  <a:pt x="573" y="170"/>
                </a:cubicBezTo>
                <a:cubicBezTo>
                  <a:pt x="582" y="172"/>
                  <a:pt x="594" y="174"/>
                  <a:pt x="604" y="174"/>
                </a:cubicBezTo>
                <a:cubicBezTo>
                  <a:pt x="616" y="174"/>
                  <a:pt x="628" y="172"/>
                  <a:pt x="637" y="165"/>
                </a:cubicBezTo>
                <a:cubicBezTo>
                  <a:pt x="649" y="172"/>
                  <a:pt x="662" y="174"/>
                  <a:pt x="675" y="174"/>
                </a:cubicBezTo>
                <a:cubicBezTo>
                  <a:pt x="699" y="174"/>
                  <a:pt x="715" y="168"/>
                  <a:pt x="715" y="144"/>
                </a:cubicBezTo>
                <a:cubicBezTo>
                  <a:pt x="715" y="71"/>
                  <a:pt x="715" y="71"/>
                  <a:pt x="715" y="71"/>
                </a:cubicBezTo>
                <a:cubicBezTo>
                  <a:pt x="715" y="69"/>
                  <a:pt x="714" y="68"/>
                  <a:pt x="713" y="68"/>
                </a:cubicBezTo>
                <a:cubicBezTo>
                  <a:pt x="684" y="68"/>
                  <a:pt x="684" y="68"/>
                  <a:pt x="684" y="68"/>
                </a:cubicBezTo>
                <a:cubicBezTo>
                  <a:pt x="683" y="68"/>
                  <a:pt x="682" y="69"/>
                  <a:pt x="682" y="71"/>
                </a:cubicBezTo>
                <a:lnTo>
                  <a:pt x="682" y="139"/>
                </a:lnTo>
                <a:close/>
                <a:moveTo>
                  <a:pt x="912" y="86"/>
                </a:moveTo>
                <a:cubicBezTo>
                  <a:pt x="912" y="70"/>
                  <a:pt x="912" y="70"/>
                  <a:pt x="912" y="70"/>
                </a:cubicBezTo>
                <a:cubicBezTo>
                  <a:pt x="912" y="67"/>
                  <a:pt x="911" y="66"/>
                  <a:pt x="908" y="66"/>
                </a:cubicBezTo>
                <a:cubicBezTo>
                  <a:pt x="905" y="66"/>
                  <a:pt x="905" y="66"/>
                  <a:pt x="905" y="66"/>
                </a:cubicBezTo>
                <a:cubicBezTo>
                  <a:pt x="893" y="66"/>
                  <a:pt x="879" y="67"/>
                  <a:pt x="870" y="69"/>
                </a:cubicBezTo>
                <a:cubicBezTo>
                  <a:pt x="858" y="72"/>
                  <a:pt x="852" y="74"/>
                  <a:pt x="852" y="81"/>
                </a:cubicBezTo>
                <a:cubicBezTo>
                  <a:pt x="852" y="169"/>
                  <a:pt x="852" y="169"/>
                  <a:pt x="852" y="169"/>
                </a:cubicBezTo>
                <a:cubicBezTo>
                  <a:pt x="852" y="170"/>
                  <a:pt x="853" y="171"/>
                  <a:pt x="855" y="171"/>
                </a:cubicBezTo>
                <a:cubicBezTo>
                  <a:pt x="884" y="171"/>
                  <a:pt x="884" y="171"/>
                  <a:pt x="884" y="171"/>
                </a:cubicBezTo>
                <a:cubicBezTo>
                  <a:pt x="885" y="171"/>
                  <a:pt x="886" y="170"/>
                  <a:pt x="886" y="169"/>
                </a:cubicBezTo>
                <a:cubicBezTo>
                  <a:pt x="886" y="92"/>
                  <a:pt x="886" y="92"/>
                  <a:pt x="886" y="92"/>
                </a:cubicBezTo>
                <a:cubicBezTo>
                  <a:pt x="888" y="91"/>
                  <a:pt x="897" y="90"/>
                  <a:pt x="909" y="90"/>
                </a:cubicBezTo>
                <a:cubicBezTo>
                  <a:pt x="912" y="90"/>
                  <a:pt x="912" y="88"/>
                  <a:pt x="912" y="86"/>
                </a:cubicBezTo>
                <a:moveTo>
                  <a:pt x="261" y="120"/>
                </a:moveTo>
                <a:cubicBezTo>
                  <a:pt x="261" y="150"/>
                  <a:pt x="268" y="174"/>
                  <a:pt x="313" y="174"/>
                </a:cubicBezTo>
                <a:cubicBezTo>
                  <a:pt x="358" y="174"/>
                  <a:pt x="364" y="150"/>
                  <a:pt x="364" y="120"/>
                </a:cubicBezTo>
                <a:cubicBezTo>
                  <a:pt x="364" y="89"/>
                  <a:pt x="358" y="66"/>
                  <a:pt x="313" y="66"/>
                </a:cubicBezTo>
                <a:cubicBezTo>
                  <a:pt x="268" y="66"/>
                  <a:pt x="261" y="89"/>
                  <a:pt x="261" y="120"/>
                </a:cubicBezTo>
                <a:moveTo>
                  <a:pt x="296" y="120"/>
                </a:moveTo>
                <a:cubicBezTo>
                  <a:pt x="296" y="97"/>
                  <a:pt x="297" y="88"/>
                  <a:pt x="313" y="88"/>
                </a:cubicBezTo>
                <a:cubicBezTo>
                  <a:pt x="328" y="88"/>
                  <a:pt x="329" y="97"/>
                  <a:pt x="329" y="120"/>
                </a:cubicBezTo>
                <a:cubicBezTo>
                  <a:pt x="329" y="143"/>
                  <a:pt x="328" y="152"/>
                  <a:pt x="313" y="152"/>
                </a:cubicBezTo>
                <a:cubicBezTo>
                  <a:pt x="297" y="152"/>
                  <a:pt x="296" y="143"/>
                  <a:pt x="296" y="120"/>
                </a:cubicBezTo>
                <a:moveTo>
                  <a:pt x="1069" y="75"/>
                </a:moveTo>
                <a:cubicBezTo>
                  <a:pt x="1073" y="75"/>
                  <a:pt x="1073" y="75"/>
                  <a:pt x="1073" y="75"/>
                </a:cubicBezTo>
                <a:cubicBezTo>
                  <a:pt x="1078" y="92"/>
                  <a:pt x="1078" y="92"/>
                  <a:pt x="1078" y="92"/>
                </a:cubicBezTo>
                <a:cubicBezTo>
                  <a:pt x="1064" y="92"/>
                  <a:pt x="1064" y="92"/>
                  <a:pt x="1064" y="92"/>
                </a:cubicBezTo>
                <a:lnTo>
                  <a:pt x="1069" y="75"/>
                </a:lnTo>
                <a:close/>
                <a:moveTo>
                  <a:pt x="1131" y="95"/>
                </a:moveTo>
                <a:cubicBezTo>
                  <a:pt x="1131" y="106"/>
                  <a:pt x="1131" y="106"/>
                  <a:pt x="1131" y="106"/>
                </a:cubicBezTo>
                <a:cubicBezTo>
                  <a:pt x="1131" y="106"/>
                  <a:pt x="1128" y="106"/>
                  <a:pt x="1125" y="106"/>
                </a:cubicBezTo>
                <a:cubicBezTo>
                  <a:pt x="1117" y="106"/>
                  <a:pt x="1112" y="104"/>
                  <a:pt x="1112" y="91"/>
                </a:cubicBezTo>
                <a:cubicBezTo>
                  <a:pt x="1112" y="77"/>
                  <a:pt x="1117" y="75"/>
                  <a:pt x="1126" y="75"/>
                </a:cubicBezTo>
                <a:cubicBezTo>
                  <a:pt x="1130" y="75"/>
                  <a:pt x="1134" y="76"/>
                  <a:pt x="1137" y="76"/>
                </a:cubicBezTo>
                <a:cubicBezTo>
                  <a:pt x="1137" y="76"/>
                  <a:pt x="1138" y="76"/>
                  <a:pt x="1138" y="76"/>
                </a:cubicBezTo>
                <a:cubicBezTo>
                  <a:pt x="1138" y="76"/>
                  <a:pt x="1139" y="76"/>
                  <a:pt x="1139" y="76"/>
                </a:cubicBezTo>
                <a:cubicBezTo>
                  <a:pt x="1140" y="76"/>
                  <a:pt x="1140" y="76"/>
                  <a:pt x="1140" y="75"/>
                </a:cubicBezTo>
                <a:cubicBezTo>
                  <a:pt x="1141" y="72"/>
                  <a:pt x="1141" y="72"/>
                  <a:pt x="1141" y="72"/>
                </a:cubicBezTo>
                <a:cubicBezTo>
                  <a:pt x="1141" y="72"/>
                  <a:pt x="1141" y="71"/>
                  <a:pt x="1141" y="71"/>
                </a:cubicBezTo>
                <a:cubicBezTo>
                  <a:pt x="1141" y="70"/>
                  <a:pt x="1140" y="70"/>
                  <a:pt x="1140" y="70"/>
                </a:cubicBezTo>
                <a:cubicBezTo>
                  <a:pt x="1139" y="69"/>
                  <a:pt x="1132" y="67"/>
                  <a:pt x="1124" y="67"/>
                </a:cubicBezTo>
                <a:cubicBezTo>
                  <a:pt x="1108" y="67"/>
                  <a:pt x="1101" y="73"/>
                  <a:pt x="1101" y="90"/>
                </a:cubicBezTo>
                <a:cubicBezTo>
                  <a:pt x="1101" y="107"/>
                  <a:pt x="1107" y="113"/>
                  <a:pt x="1125" y="113"/>
                </a:cubicBezTo>
                <a:cubicBezTo>
                  <a:pt x="1129" y="113"/>
                  <a:pt x="1135" y="112"/>
                  <a:pt x="1137" y="112"/>
                </a:cubicBezTo>
                <a:cubicBezTo>
                  <a:pt x="1137" y="112"/>
                  <a:pt x="1137" y="112"/>
                  <a:pt x="1137" y="112"/>
                </a:cubicBezTo>
                <a:cubicBezTo>
                  <a:pt x="1140" y="111"/>
                  <a:pt x="1141" y="110"/>
                  <a:pt x="1141" y="107"/>
                </a:cubicBezTo>
                <a:cubicBezTo>
                  <a:pt x="1141" y="88"/>
                  <a:pt x="1141" y="88"/>
                  <a:pt x="1141" y="88"/>
                </a:cubicBezTo>
                <a:cubicBezTo>
                  <a:pt x="1141" y="88"/>
                  <a:pt x="1141" y="88"/>
                  <a:pt x="1140" y="88"/>
                </a:cubicBezTo>
                <a:cubicBezTo>
                  <a:pt x="1124" y="88"/>
                  <a:pt x="1124" y="88"/>
                  <a:pt x="1124" y="88"/>
                </a:cubicBezTo>
                <a:cubicBezTo>
                  <a:pt x="1123" y="88"/>
                  <a:pt x="1123" y="88"/>
                  <a:pt x="1123" y="88"/>
                </a:cubicBezTo>
                <a:cubicBezTo>
                  <a:pt x="1123" y="94"/>
                  <a:pt x="1123" y="94"/>
                  <a:pt x="1123" y="94"/>
                </a:cubicBezTo>
                <a:cubicBezTo>
                  <a:pt x="1123" y="94"/>
                  <a:pt x="1123" y="95"/>
                  <a:pt x="1124" y="95"/>
                </a:cubicBezTo>
                <a:lnTo>
                  <a:pt x="1131" y="95"/>
                </a:lnTo>
                <a:close/>
                <a:moveTo>
                  <a:pt x="1079" y="68"/>
                </a:moveTo>
                <a:cubicBezTo>
                  <a:pt x="1062" y="68"/>
                  <a:pt x="1062" y="68"/>
                  <a:pt x="1062" y="68"/>
                </a:cubicBezTo>
                <a:cubicBezTo>
                  <a:pt x="1062" y="68"/>
                  <a:pt x="1062" y="69"/>
                  <a:pt x="1062" y="69"/>
                </a:cubicBezTo>
                <a:cubicBezTo>
                  <a:pt x="1047" y="111"/>
                  <a:pt x="1047" y="111"/>
                  <a:pt x="1047" y="111"/>
                </a:cubicBezTo>
                <a:cubicBezTo>
                  <a:pt x="1047" y="111"/>
                  <a:pt x="1047" y="112"/>
                  <a:pt x="1047" y="112"/>
                </a:cubicBezTo>
                <a:cubicBezTo>
                  <a:pt x="1047" y="112"/>
                  <a:pt x="1047" y="112"/>
                  <a:pt x="1048" y="112"/>
                </a:cubicBezTo>
                <a:cubicBezTo>
                  <a:pt x="1058" y="112"/>
                  <a:pt x="1058" y="112"/>
                  <a:pt x="1058" y="112"/>
                </a:cubicBezTo>
                <a:cubicBezTo>
                  <a:pt x="1059" y="112"/>
                  <a:pt x="1059" y="112"/>
                  <a:pt x="1059" y="112"/>
                </a:cubicBezTo>
                <a:cubicBezTo>
                  <a:pt x="1062" y="99"/>
                  <a:pt x="1062" y="99"/>
                  <a:pt x="1062" y="99"/>
                </a:cubicBezTo>
                <a:cubicBezTo>
                  <a:pt x="1080" y="99"/>
                  <a:pt x="1080" y="99"/>
                  <a:pt x="1080" y="99"/>
                </a:cubicBezTo>
                <a:cubicBezTo>
                  <a:pt x="1083" y="112"/>
                  <a:pt x="1083" y="112"/>
                  <a:pt x="1083" y="112"/>
                </a:cubicBezTo>
                <a:cubicBezTo>
                  <a:pt x="1083" y="112"/>
                  <a:pt x="1083" y="112"/>
                  <a:pt x="1083" y="112"/>
                </a:cubicBezTo>
                <a:cubicBezTo>
                  <a:pt x="1093" y="112"/>
                  <a:pt x="1093" y="112"/>
                  <a:pt x="1093" y="112"/>
                </a:cubicBezTo>
                <a:cubicBezTo>
                  <a:pt x="1094" y="112"/>
                  <a:pt x="1094" y="112"/>
                  <a:pt x="1094" y="112"/>
                </a:cubicBezTo>
                <a:cubicBezTo>
                  <a:pt x="1094" y="112"/>
                  <a:pt x="1094" y="111"/>
                  <a:pt x="1094" y="111"/>
                </a:cubicBezTo>
                <a:cubicBezTo>
                  <a:pt x="1080" y="69"/>
                  <a:pt x="1080" y="69"/>
                  <a:pt x="1080" y="69"/>
                </a:cubicBezTo>
                <a:cubicBezTo>
                  <a:pt x="1080" y="69"/>
                  <a:pt x="1080" y="68"/>
                  <a:pt x="1079" y="68"/>
                </a:cubicBezTo>
                <a:moveTo>
                  <a:pt x="70" y="68"/>
                </a:moveTo>
                <a:cubicBezTo>
                  <a:pt x="70" y="98"/>
                  <a:pt x="70" y="98"/>
                  <a:pt x="70" y="98"/>
                </a:cubicBezTo>
                <a:cubicBezTo>
                  <a:pt x="70" y="119"/>
                  <a:pt x="61" y="132"/>
                  <a:pt x="41" y="132"/>
                </a:cubicBezTo>
                <a:cubicBezTo>
                  <a:pt x="26" y="132"/>
                  <a:pt x="26" y="132"/>
                  <a:pt x="26" y="132"/>
                </a:cubicBezTo>
                <a:cubicBezTo>
                  <a:pt x="21" y="172"/>
                  <a:pt x="21" y="172"/>
                  <a:pt x="21" y="172"/>
                </a:cubicBezTo>
                <a:cubicBezTo>
                  <a:pt x="43" y="172"/>
                  <a:pt x="43" y="172"/>
                  <a:pt x="43" y="172"/>
                </a:cubicBezTo>
                <a:cubicBezTo>
                  <a:pt x="81" y="172"/>
                  <a:pt x="111" y="145"/>
                  <a:pt x="111" y="101"/>
                </a:cubicBezTo>
                <a:cubicBezTo>
                  <a:pt x="111" y="68"/>
                  <a:pt x="111" y="68"/>
                  <a:pt x="111" y="68"/>
                </a:cubicBezTo>
                <a:lnTo>
                  <a:pt x="70" y="68"/>
                </a:lnTo>
                <a:close/>
              </a:path>
            </a:pathLst>
          </a:custGeom>
          <a:solidFill>
            <a:schemeClr val="tx2"/>
          </a:solidFill>
          <a:ln>
            <a:noFill/>
          </a:ln>
        </p:spPr>
        <p:txBody>
          <a:bodyPr vert="horz" wrap="square" lIns="121920" tIns="60960" rIns="121920" bIns="60960" numCol="1" anchor="t" anchorCtr="0" compatLnSpc="1">
            <a:prstTxWarp prst="textNoShape">
              <a:avLst/>
            </a:prstTxWarp>
          </a:bodyPr>
          <a:lstStyle/>
          <a:p>
            <a:pPr lvl="0"/>
            <a:endParaRPr lang="en-US" sz="2489" baseline="0" dirty="0">
              <a:solidFill>
                <a:srgbClr val="011F3D"/>
              </a:solidFill>
            </a:endParaRPr>
          </a:p>
        </p:txBody>
      </p:sp>
      <p:sp>
        <p:nvSpPr>
          <p:cNvPr id="12" name="Layout Support" hidden="1">
            <a:extLst>
              <a:ext uri="{FF2B5EF4-FFF2-40B4-BE49-F238E27FC236}">
                <a16:creationId xmlns:a16="http://schemas.microsoft.com/office/drawing/2014/main" id="{26B0D715-0DA4-494F-BCAE-E9690154DE18}"/>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D00000</a:t>
            </a:r>
          </a:p>
        </p:txBody>
      </p:sp>
      <p:sp>
        <p:nvSpPr>
          <p:cNvPr id="13" name="Flight Mode" hidden="1">
            <a:extLst>
              <a:ext uri="{FF2B5EF4-FFF2-40B4-BE49-F238E27FC236}">
                <a16:creationId xmlns:a16="http://schemas.microsoft.com/office/drawing/2014/main" id="{A8552BC8-1C5F-427A-BEC1-5752AD5C702B}"/>
              </a:ext>
            </a:extLst>
          </p:cNvPr>
          <p:cNvSpPr/>
          <p:nvPr userDrawn="1">
            <p:custDataLst>
              <p:tags r:id="rId2"/>
            </p:custDataLst>
          </p:nvPr>
        </p:nvSpPr>
        <p:spPr>
          <a:xfrm>
            <a:off x="2209800" y="2131991"/>
            <a:ext cx="7848600" cy="213521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lnSpc>
                <a:spcPct val="120000"/>
              </a:lnSpc>
              <a:spcAft>
                <a:spcPts val="700"/>
              </a:spcAft>
            </a:pPr>
            <a:endParaRPr lang="en-US" dirty="0">
              <a:solidFill>
                <a:schemeClr val="tx1"/>
              </a:solidFill>
            </a:endParaRPr>
          </a:p>
        </p:txBody>
      </p:sp>
    </p:spTree>
    <p:extLst>
      <p:ext uri="{BB962C8B-B14F-4D97-AF65-F5344CB8AC3E}">
        <p14:creationId xmlns:p14="http://schemas.microsoft.com/office/powerpoint/2010/main" val="4135049423"/>
      </p:ext>
    </p:extLst>
  </p:cSld>
  <p:clrMapOvr>
    <a:overrideClrMapping bg1="dk1" tx1="lt1" bg2="dk2" tx2="lt2" accent1="accent1" accent2="accent2" accent3="accent3" accent4="accent4" accent5="accent5" accent6="accent6" hlink="hlink" folHlink="folHlink"/>
  </p:clrMapOvr>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Slide&#10;- Dark -" preserve="1">
  <p:cSld name="Title Slide - Dark -">
    <p:bg>
      <p:bgRef idx="1001">
        <a:schemeClr val="bg1"/>
      </p:bgRef>
    </p:bg>
    <p:spTree>
      <p:nvGrpSpPr>
        <p:cNvPr id="1" name=""/>
        <p:cNvGrpSpPr/>
        <p:nvPr/>
      </p:nvGrpSpPr>
      <p:grpSpPr>
        <a:xfrm>
          <a:off x="0" y="0"/>
          <a:ext cx="0" cy="0"/>
          <a:chOff x="0" y="0"/>
          <a:chExt cx="0" cy="0"/>
        </a:xfrm>
      </p:grpSpPr>
      <p:sp>
        <p:nvSpPr>
          <p:cNvPr id="15" name="MIO_VALID_LAYOUT" hidden="1">
            <a:extLst>
              <a:ext uri="{FF2B5EF4-FFF2-40B4-BE49-F238E27FC236}">
                <a16:creationId xmlns:a16="http://schemas.microsoft.com/office/drawing/2014/main" id="{1CAB1393-3D85-4C02-9155-D65DC6B03FC6}"/>
              </a:ext>
            </a:extLst>
          </p:cNvPr>
          <p:cNvSpPr/>
          <p:nvPr userDrawn="1"/>
        </p:nvSpPr>
        <p:spPr>
          <a:xfrm>
            <a:off x="11640300" y="220663"/>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p:nvSpPr>
          <p:cNvPr id="16" name="MIO_AGENDA_IGNORE_NAVIGATION" hidden="1">
            <a:extLst>
              <a:ext uri="{FF2B5EF4-FFF2-40B4-BE49-F238E27FC236}">
                <a16:creationId xmlns:a16="http://schemas.microsoft.com/office/drawing/2014/main" id="{A86D5691-86D2-43B2-A12E-202845E17EF6}"/>
              </a:ext>
            </a:extLst>
          </p:cNvPr>
          <p:cNvSpPr/>
          <p:nvPr userDrawn="1"/>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latin typeface="+mn-lt"/>
              <a:cs typeface="+mn-cs"/>
            </a:endParaRPr>
          </a:p>
        </p:txBody>
      </p:sp>
      <p:sp>
        <p:nvSpPr>
          <p:cNvPr id="17" name="MIO_AGENDA_IGNORE_CHAPTER_REFERENCE" hidden="1">
            <a:extLst>
              <a:ext uri="{FF2B5EF4-FFF2-40B4-BE49-F238E27FC236}">
                <a16:creationId xmlns:a16="http://schemas.microsoft.com/office/drawing/2014/main" id="{BEC20D6D-7E7A-44B4-BA23-9EAFEAA292F8}"/>
              </a:ext>
            </a:extLst>
          </p:cNvPr>
          <p:cNvSpPr/>
          <p:nvPr userDrawn="1"/>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useBgFill="1">
        <p:nvSpPr>
          <p:cNvPr id="3" name="Background">
            <a:extLst>
              <a:ext uri="{FF2B5EF4-FFF2-40B4-BE49-F238E27FC236}">
                <a16:creationId xmlns:a16="http://schemas.microsoft.com/office/drawing/2014/main" id="{3B0E330A-801A-431C-9B07-00E24E947010}"/>
              </a:ext>
            </a:extLst>
          </p:cNvPr>
          <p:cNvSpPr/>
          <p:nvPr userDrawn="1"/>
        </p:nvSpPr>
        <p:spPr>
          <a:xfrm>
            <a:off x="0" y="0"/>
            <a:ext cx="12192000" cy="6858000"/>
          </a:xfrm>
          <a:prstGeom prst="rect">
            <a:avLst/>
          </a:prstGeom>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latin typeface="+mn-lt"/>
              <a:cs typeface="+mn-cs"/>
            </a:endParaRPr>
          </a:p>
        </p:txBody>
      </p:sp>
      <p:sp>
        <p:nvSpPr>
          <p:cNvPr id="11" name="Logo Correction Shape">
            <a:extLst>
              <a:ext uri="{FF2B5EF4-FFF2-40B4-BE49-F238E27FC236}">
                <a16:creationId xmlns:a16="http://schemas.microsoft.com/office/drawing/2014/main" id="{ADFBC294-6E48-4D46-B408-C81C4C14D073}"/>
              </a:ext>
            </a:extLst>
          </p:cNvPr>
          <p:cNvSpPr/>
          <p:nvPr userDrawn="1"/>
        </p:nvSpPr>
        <p:spPr>
          <a:xfrm>
            <a:off x="7923946" y="3623400"/>
            <a:ext cx="2138400" cy="25272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latin typeface="+mn-lt"/>
              <a:cs typeface="+mn-cs"/>
            </a:endParaRPr>
          </a:p>
        </p:txBody>
      </p:sp>
      <p:sp>
        <p:nvSpPr>
          <p:cNvPr id="36" name="Picture Placeholder 31">
            <a:extLst>
              <a:ext uri="{FF2B5EF4-FFF2-40B4-BE49-F238E27FC236}">
                <a16:creationId xmlns:a16="http://schemas.microsoft.com/office/drawing/2014/main" id="{72CC1C33-64C3-4D27-8120-1C76986C6A67}"/>
              </a:ext>
            </a:extLst>
          </p:cNvPr>
          <p:cNvSpPr>
            <a:spLocks noGrp="1"/>
          </p:cNvSpPr>
          <p:nvPr>
            <p:ph type="pic" sz="quarter" idx="31" hasCustomPrompt="1"/>
          </p:nvPr>
        </p:nvSpPr>
        <p:spPr>
          <a:xfrm>
            <a:off x="0" y="0"/>
            <a:ext cx="12191998" cy="6858000"/>
          </a:xfrm>
          <a:custGeom>
            <a:avLst/>
            <a:gdLst>
              <a:gd name="connsiteX0" fmla="*/ 8018088 w 12192000"/>
              <a:gd name="connsiteY0" fmla="*/ 3699600 h 6858000"/>
              <a:gd name="connsiteX1" fmla="*/ 8018088 w 12192000"/>
              <a:gd name="connsiteY1" fmla="*/ 6086475 h 6858000"/>
              <a:gd name="connsiteX2" fmla="*/ 9989763 w 12192000"/>
              <a:gd name="connsiteY2" fmla="*/ 6086475 h 6858000"/>
              <a:gd name="connsiteX3" fmla="*/ 9989763 w 12192000"/>
              <a:gd name="connsiteY3" fmla="*/ 6034088 h 6858000"/>
              <a:gd name="connsiteX4" fmla="*/ 9991724 w 12192000"/>
              <a:gd name="connsiteY4" fmla="*/ 6034088 h 6858000"/>
              <a:gd name="connsiteX5" fmla="*/ 9991724 w 12192000"/>
              <a:gd name="connsiteY5" fmla="*/ 3701549 h 6858000"/>
              <a:gd name="connsiteX6" fmla="*/ 9989763 w 12192000"/>
              <a:gd name="connsiteY6" fmla="*/ 3701549 h 6858000"/>
              <a:gd name="connsiteX7" fmla="*/ 9989763 w 12192000"/>
              <a:gd name="connsiteY7" fmla="*/ 3699600 h 6858000"/>
              <a:gd name="connsiteX8" fmla="*/ 0 w 12192000"/>
              <a:gd name="connsiteY8" fmla="*/ 0 h 6858000"/>
              <a:gd name="connsiteX9" fmla="*/ 12192000 w 12192000"/>
              <a:gd name="connsiteY9" fmla="*/ 0 h 6858000"/>
              <a:gd name="connsiteX10" fmla="*/ 12192000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8018088" y="3699600"/>
                </a:moveTo>
                <a:lnTo>
                  <a:pt x="8018088" y="6086475"/>
                </a:lnTo>
                <a:lnTo>
                  <a:pt x="9989763" y="6086475"/>
                </a:lnTo>
                <a:lnTo>
                  <a:pt x="9989763" y="6034088"/>
                </a:lnTo>
                <a:lnTo>
                  <a:pt x="9991724" y="6034088"/>
                </a:lnTo>
                <a:lnTo>
                  <a:pt x="9991724" y="3701549"/>
                </a:lnTo>
                <a:lnTo>
                  <a:pt x="9989763" y="3701549"/>
                </a:lnTo>
                <a:lnTo>
                  <a:pt x="9989763" y="3699600"/>
                </a:lnTo>
                <a:close/>
                <a:moveTo>
                  <a:pt x="0" y="0"/>
                </a:moveTo>
                <a:lnTo>
                  <a:pt x="12192000" y="0"/>
                </a:lnTo>
                <a:lnTo>
                  <a:pt x="12192000" y="6858000"/>
                </a:lnTo>
                <a:lnTo>
                  <a:pt x="0" y="6858000"/>
                </a:lnTo>
                <a:close/>
              </a:path>
            </a:pathLst>
          </a:custGeom>
          <a:pattFill prst="wdUpDiag">
            <a:fgClr>
              <a:schemeClr val="bg1">
                <a:lumMod val="90000"/>
                <a:lumOff val="10000"/>
              </a:schemeClr>
            </a:fgClr>
            <a:bgClr>
              <a:schemeClr val="bg2"/>
            </a:bgClr>
          </a:pattFill>
        </p:spPr>
        <p:txBody>
          <a:bodyPr vert="horz" lIns="0" tIns="0" rIns="0" bIns="4320000" rtlCol="0" anchor="ctr" anchorCtr="1">
            <a:noAutofit/>
          </a:bodyPr>
          <a:lstStyle>
            <a:lvl1pPr>
              <a:defRPr lang="en-US" dirty="0"/>
            </a:lvl1pPr>
          </a:lstStyle>
          <a:p>
            <a:pPr lvl="0"/>
            <a:r>
              <a:rPr lang="en-US" dirty="0"/>
              <a:t>Click on area to add picture</a:t>
            </a:r>
          </a:p>
        </p:txBody>
      </p:sp>
      <p:sp>
        <p:nvSpPr>
          <p:cNvPr id="38" name="Title">
            <a:extLst>
              <a:ext uri="{FF2B5EF4-FFF2-40B4-BE49-F238E27FC236}">
                <a16:creationId xmlns:a16="http://schemas.microsoft.com/office/drawing/2014/main" id="{BE83E53A-3332-4DDB-8C0D-9138F7F8F07F}"/>
              </a:ext>
            </a:extLst>
          </p:cNvPr>
          <p:cNvSpPr>
            <a:spLocks noGrp="1"/>
          </p:cNvSpPr>
          <p:nvPr>
            <p:ph type="title"/>
          </p:nvPr>
        </p:nvSpPr>
        <p:spPr>
          <a:xfrm>
            <a:off x="-1" y="2845800"/>
            <a:ext cx="10080625" cy="3304175"/>
          </a:xfrm>
          <a:custGeom>
            <a:avLst/>
            <a:gdLst>
              <a:gd name="connsiteX0" fmla="*/ 8040001 w 10080625"/>
              <a:gd name="connsiteY0" fmla="*/ 2527200 h 3304175"/>
              <a:gd name="connsiteX1" fmla="*/ 8040001 w 10080625"/>
              <a:gd name="connsiteY1" fmla="*/ 3198076 h 3304175"/>
              <a:gd name="connsiteX2" fmla="*/ 9963095 w 10080625"/>
              <a:gd name="connsiteY2" fmla="*/ 3198076 h 3304175"/>
              <a:gd name="connsiteX3" fmla="*/ 9963095 w 10080625"/>
              <a:gd name="connsiteY3" fmla="*/ 2527200 h 3304175"/>
              <a:gd name="connsiteX4" fmla="*/ 0 w 10080625"/>
              <a:gd name="connsiteY4" fmla="*/ 0 h 3304175"/>
              <a:gd name="connsiteX5" fmla="*/ 10080625 w 10080625"/>
              <a:gd name="connsiteY5" fmla="*/ 0 h 3304175"/>
              <a:gd name="connsiteX6" fmla="*/ 10080625 w 10080625"/>
              <a:gd name="connsiteY6" fmla="*/ 3304175 h 3304175"/>
              <a:gd name="connsiteX7" fmla="*/ 0 w 10080625"/>
              <a:gd name="connsiteY7" fmla="*/ 3304175 h 3304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80625" h="3304175">
                <a:moveTo>
                  <a:pt x="8040001" y="2527200"/>
                </a:moveTo>
                <a:lnTo>
                  <a:pt x="8040001" y="3198076"/>
                </a:lnTo>
                <a:lnTo>
                  <a:pt x="9963095" y="3198076"/>
                </a:lnTo>
                <a:lnTo>
                  <a:pt x="9963095" y="2527200"/>
                </a:lnTo>
                <a:close/>
                <a:moveTo>
                  <a:pt x="0" y="0"/>
                </a:moveTo>
                <a:lnTo>
                  <a:pt x="10080625" y="0"/>
                </a:lnTo>
                <a:lnTo>
                  <a:pt x="10080625" y="3304175"/>
                </a:lnTo>
                <a:lnTo>
                  <a:pt x="0" y="3304175"/>
                </a:lnTo>
                <a:close/>
              </a:path>
            </a:pathLst>
          </a:custGeom>
          <a:solidFill>
            <a:schemeClr val="bg2"/>
          </a:solidFill>
        </p:spPr>
        <p:txBody>
          <a:bodyPr wrap="square" lIns="352800" tIns="194400">
            <a:noAutofit/>
          </a:bodyPr>
          <a:lstStyle>
            <a:lvl1pPr>
              <a:defRPr sz="4800" baseline="0"/>
            </a:lvl1pPr>
          </a:lstStyle>
          <a:p>
            <a:r>
              <a:rPr lang="en-US"/>
              <a:t>Click to edit Master title style</a:t>
            </a:r>
            <a:endParaRPr lang="en-US" dirty="0"/>
          </a:p>
        </p:txBody>
      </p:sp>
      <p:sp>
        <p:nvSpPr>
          <p:cNvPr id="9" name="Subtitle 1">
            <a:extLst>
              <a:ext uri="{FF2B5EF4-FFF2-40B4-BE49-F238E27FC236}">
                <a16:creationId xmlns:a16="http://schemas.microsoft.com/office/drawing/2014/main" id="{C3F9BEB5-0A55-4E2D-A283-A64EEC73B566}"/>
              </a:ext>
            </a:extLst>
          </p:cNvPr>
          <p:cNvSpPr>
            <a:spLocks noGrp="1"/>
          </p:cNvSpPr>
          <p:nvPr>
            <p:ph type="subTitle" sz="quarter" idx="1"/>
          </p:nvPr>
        </p:nvSpPr>
        <p:spPr>
          <a:xfrm>
            <a:off x="361200" y="4887000"/>
            <a:ext cx="5637963" cy="388989"/>
          </a:xfrm>
        </p:spPr>
        <p:txBody>
          <a:bodyPr tIns="50800" anchor="b"/>
          <a:lstStyle>
            <a:lvl1pPr marL="0" indent="0">
              <a:lnSpc>
                <a:spcPct val="120000"/>
              </a:lnSpc>
              <a:spcBef>
                <a:spcPts val="0"/>
              </a:spcBef>
              <a:spcAft>
                <a:spcPts val="765"/>
              </a:spcAft>
              <a:buFontTx/>
              <a:buNone/>
              <a:defRPr sz="2000" baseline="0">
                <a:solidFill>
                  <a:schemeClr val="tx1"/>
                </a:solidFill>
                <a:latin typeface="+mn-lt"/>
                <a:cs typeface="+mn-cs"/>
              </a:defRPr>
            </a:lvl1pPr>
          </a:lstStyle>
          <a:p>
            <a:pPr lvl="0"/>
            <a:r>
              <a:rPr lang="en-US"/>
              <a:t>Click to edit Master subtitle style</a:t>
            </a:r>
            <a:endParaRPr lang="en-US" dirty="0"/>
          </a:p>
        </p:txBody>
      </p:sp>
      <p:sp>
        <p:nvSpPr>
          <p:cNvPr id="10" name="Text Placeholder 11">
            <a:extLst>
              <a:ext uri="{FF2B5EF4-FFF2-40B4-BE49-F238E27FC236}">
                <a16:creationId xmlns:a16="http://schemas.microsoft.com/office/drawing/2014/main" id="{B1B14E90-4F21-4322-8B8C-FB9A38952A95}"/>
              </a:ext>
            </a:extLst>
          </p:cNvPr>
          <p:cNvSpPr>
            <a:spLocks noGrp="1"/>
          </p:cNvSpPr>
          <p:nvPr>
            <p:ph type="body" sz="quarter" idx="11" hasCustomPrompt="1"/>
          </p:nvPr>
        </p:nvSpPr>
        <p:spPr>
          <a:xfrm>
            <a:off x="361200" y="5664600"/>
            <a:ext cx="5637963" cy="194400"/>
          </a:xfrm>
        </p:spPr>
        <p:txBody>
          <a:bodyPr anchor="b"/>
          <a:lstStyle>
            <a:lvl1pPr>
              <a:defRPr sz="1000" baseline="0">
                <a:latin typeface="+mn-lt"/>
                <a:cs typeface="+mn-cs"/>
              </a:defRPr>
            </a:lvl1pPr>
          </a:lstStyle>
          <a:p>
            <a:pPr lvl="0"/>
            <a:r>
              <a:rPr lang="en-US" dirty="0"/>
              <a:t>Presenter Name / Presenter Title / Date</a:t>
            </a:r>
          </a:p>
        </p:txBody>
      </p:sp>
      <p:sp>
        <p:nvSpPr>
          <p:cNvPr id="12" name="Date Placeholder (hidden)">
            <a:extLst>
              <a:ext uri="{FF2B5EF4-FFF2-40B4-BE49-F238E27FC236}">
                <a16:creationId xmlns:a16="http://schemas.microsoft.com/office/drawing/2014/main" id="{F77CB650-633E-4E6C-AF45-25FDE5B9590D}"/>
              </a:ext>
            </a:extLst>
          </p:cNvPr>
          <p:cNvSpPr>
            <a:spLocks noGrp="1"/>
          </p:cNvSpPr>
          <p:nvPr>
            <p:ph type="dt" sz="half" idx="2"/>
          </p:nvPr>
        </p:nvSpPr>
        <p:spPr/>
        <p:txBody>
          <a:bodyPr/>
          <a:lstStyle/>
          <a:p>
            <a:fld id="{6DEDDF15-459B-4C18-9AB7-2CFC650F197B}" type="datetime1">
              <a:rPr lang="en-US"/>
              <a:t>1/29/2022</a:t>
            </a:fld>
            <a:endParaRPr lang="en-US" dirty="0"/>
          </a:p>
        </p:txBody>
      </p:sp>
      <p:sp>
        <p:nvSpPr>
          <p:cNvPr id="13" name="Footer Placeholder (special)">
            <a:extLst>
              <a:ext uri="{FF2B5EF4-FFF2-40B4-BE49-F238E27FC236}">
                <a16:creationId xmlns:a16="http://schemas.microsoft.com/office/drawing/2014/main" id="{91D7C20D-A990-4B26-A7AA-7B9DF208E956}"/>
              </a:ext>
            </a:extLst>
          </p:cNvPr>
          <p:cNvSpPr>
            <a:spLocks noGrp="1"/>
          </p:cNvSpPr>
          <p:nvPr>
            <p:ph type="ftr" sz="quarter" idx="3"/>
          </p:nvPr>
        </p:nvSpPr>
        <p:spPr>
          <a:xfrm>
            <a:off x="361200" y="6539400"/>
            <a:ext cx="5346700" cy="97939"/>
          </a:xfrm>
        </p:spPr>
        <p:txBody>
          <a:bodyPr/>
          <a:lstStyle>
            <a:lvl1pPr algn="l">
              <a:defRPr baseline="0">
                <a:solidFill>
                  <a:schemeClr val="tx1"/>
                </a:solidFill>
                <a:latin typeface="+mn-lt"/>
                <a:cs typeface="+mn-cs"/>
              </a:defRPr>
            </a:lvl1pPr>
          </a:lstStyle>
          <a:p>
            <a:r>
              <a:rPr lang="en-US"/>
              <a:t>© 2021 Software AG. All rights reserved. For internal use only and for Software AG Partners.</a:t>
            </a:r>
            <a:endParaRPr lang="en-US" dirty="0"/>
          </a:p>
        </p:txBody>
      </p:sp>
      <p:sp>
        <p:nvSpPr>
          <p:cNvPr id="14" name="Slide Number Placeholder (hidden)">
            <a:extLst>
              <a:ext uri="{FF2B5EF4-FFF2-40B4-BE49-F238E27FC236}">
                <a16:creationId xmlns:a16="http://schemas.microsoft.com/office/drawing/2014/main" id="{479DF1F2-C0C4-473D-97F7-A8F42001FA25}"/>
              </a:ext>
            </a:extLst>
          </p:cNvPr>
          <p:cNvSpPr>
            <a:spLocks noGrp="1"/>
          </p:cNvSpPr>
          <p:nvPr>
            <p:ph type="sldNum" sz="quarter" idx="4"/>
          </p:nvPr>
        </p:nvSpPr>
        <p:spPr>
          <a:xfrm>
            <a:off x="12186020" y="6852020"/>
            <a:ext cx="3600" cy="3600"/>
          </a:xfrm>
        </p:spPr>
        <p:txBody>
          <a:bodyPr/>
          <a:lstStyle>
            <a:lvl1pPr algn="r">
              <a:defRPr>
                <a:noFill/>
              </a:defRPr>
            </a:lvl1pPr>
          </a:lstStyle>
          <a:p>
            <a:fld id="{22FF84AA-2C76-4AF1-8502-73D25D47F37C}" type="slidenum">
              <a:rPr lang="en-US"/>
              <a:pPr/>
              <a:t>‹#›</a:t>
            </a:fld>
            <a:endParaRPr lang="en-US" dirty="0"/>
          </a:p>
        </p:txBody>
      </p:sp>
      <p:sp>
        <p:nvSpPr>
          <p:cNvPr id="2" name="Dynamic SAG LOGO">
            <a:extLst>
              <a:ext uri="{FF2B5EF4-FFF2-40B4-BE49-F238E27FC236}">
                <a16:creationId xmlns:a16="http://schemas.microsoft.com/office/drawing/2014/main" id="{2EFAC376-49A2-4C3D-82FC-063423453905}"/>
              </a:ext>
            </a:extLst>
          </p:cNvPr>
          <p:cNvSpPr>
            <a:spLocks noChangeAspect="1" noEditPoints="1"/>
          </p:cNvSpPr>
          <p:nvPr userDrawn="1"/>
        </p:nvSpPr>
        <p:spPr bwMode="auto">
          <a:xfrm>
            <a:off x="8137525" y="5567400"/>
            <a:ext cx="1749426" cy="266702"/>
          </a:xfrm>
          <a:custGeom>
            <a:avLst/>
            <a:gdLst>
              <a:gd name="T0" fmla="*/ 1015 w 1141"/>
              <a:gd name="T1" fmla="*/ 164 h 174"/>
              <a:gd name="T2" fmla="*/ 1008 w 1141"/>
              <a:gd name="T3" fmla="*/ 148 h 174"/>
              <a:gd name="T4" fmla="*/ 962 w 1141"/>
              <a:gd name="T5" fmla="*/ 149 h 174"/>
              <a:gd name="T6" fmla="*/ 1019 w 1141"/>
              <a:gd name="T7" fmla="*/ 118 h 174"/>
              <a:gd name="T8" fmla="*/ 828 w 1141"/>
              <a:gd name="T9" fmla="*/ 96 h 174"/>
              <a:gd name="T10" fmla="*/ 737 w 1141"/>
              <a:gd name="T11" fmla="*/ 76 h 174"/>
              <a:gd name="T12" fmla="*/ 743 w 1141"/>
              <a:gd name="T13" fmla="*/ 93 h 174"/>
              <a:gd name="T14" fmla="*/ 794 w 1141"/>
              <a:gd name="T15" fmla="*/ 100 h 174"/>
              <a:gd name="T16" fmla="*/ 779 w 1141"/>
              <a:gd name="T17" fmla="*/ 174 h 174"/>
              <a:gd name="T18" fmla="*/ 198 w 1141"/>
              <a:gd name="T19" fmla="*/ 131 h 174"/>
              <a:gd name="T20" fmla="*/ 171 w 1141"/>
              <a:gd name="T21" fmla="*/ 148 h 174"/>
              <a:gd name="T22" fmla="*/ 165 w 1141"/>
              <a:gd name="T23" fmla="*/ 163 h 174"/>
              <a:gd name="T24" fmla="*/ 246 w 1141"/>
              <a:gd name="T25" fmla="*/ 139 h 174"/>
              <a:gd name="T26" fmla="*/ 214 w 1141"/>
              <a:gd name="T27" fmla="*/ 87 h 174"/>
              <a:gd name="T28" fmla="*/ 243 w 1141"/>
              <a:gd name="T29" fmla="*/ 75 h 174"/>
              <a:gd name="T30" fmla="*/ 165 w 1141"/>
              <a:gd name="T31" fmla="*/ 98 h 174"/>
              <a:gd name="T32" fmla="*/ 41 w 1141"/>
              <a:gd name="T33" fmla="*/ 72 h 174"/>
              <a:gd name="T34" fmla="*/ 66 w 1141"/>
              <a:gd name="T35" fmla="*/ 0 h 174"/>
              <a:gd name="T36" fmla="*/ 794 w 1141"/>
              <a:gd name="T37" fmla="*/ 152 h 174"/>
              <a:gd name="T38" fmla="*/ 794 w 1141"/>
              <a:gd name="T39" fmla="*/ 123 h 174"/>
              <a:gd name="T40" fmla="*/ 954 w 1141"/>
              <a:gd name="T41" fmla="*/ 98 h 174"/>
              <a:gd name="T42" fmla="*/ 987 w 1141"/>
              <a:gd name="T43" fmla="*/ 114 h 174"/>
              <a:gd name="T44" fmla="*/ 653 w 1141"/>
              <a:gd name="T45" fmla="*/ 151 h 174"/>
              <a:gd name="T46" fmla="*/ 619 w 1141"/>
              <a:gd name="T47" fmla="*/ 71 h 174"/>
              <a:gd name="T48" fmla="*/ 590 w 1141"/>
              <a:gd name="T49" fmla="*/ 71 h 174"/>
              <a:gd name="T50" fmla="*/ 502 w 1141"/>
              <a:gd name="T51" fmla="*/ 33 h 174"/>
              <a:gd name="T52" fmla="*/ 471 w 1141"/>
              <a:gd name="T53" fmla="*/ 68 h 174"/>
              <a:gd name="T54" fmla="*/ 437 w 1141"/>
              <a:gd name="T55" fmla="*/ 46 h 174"/>
              <a:gd name="T56" fmla="*/ 452 w 1141"/>
              <a:gd name="T57" fmla="*/ 45 h 174"/>
              <a:gd name="T58" fmla="*/ 426 w 1141"/>
              <a:gd name="T59" fmla="*/ 23 h 174"/>
              <a:gd name="T60" fmla="*/ 373 w 1141"/>
              <a:gd name="T61" fmla="*/ 71 h 174"/>
              <a:gd name="T62" fmla="*/ 391 w 1141"/>
              <a:gd name="T63" fmla="*/ 169 h 174"/>
              <a:gd name="T64" fmla="*/ 425 w 1141"/>
              <a:gd name="T65" fmla="*/ 91 h 174"/>
              <a:gd name="T66" fmla="*/ 533 w 1141"/>
              <a:gd name="T67" fmla="*/ 169 h 174"/>
              <a:gd name="T68" fmla="*/ 531 w 1141"/>
              <a:gd name="T69" fmla="*/ 148 h 174"/>
              <a:gd name="T70" fmla="*/ 505 w 1141"/>
              <a:gd name="T71" fmla="*/ 137 h 174"/>
              <a:gd name="T72" fmla="*/ 573 w 1141"/>
              <a:gd name="T73" fmla="*/ 170 h 174"/>
              <a:gd name="T74" fmla="*/ 715 w 1141"/>
              <a:gd name="T75" fmla="*/ 144 h 174"/>
              <a:gd name="T76" fmla="*/ 682 w 1141"/>
              <a:gd name="T77" fmla="*/ 71 h 174"/>
              <a:gd name="T78" fmla="*/ 908 w 1141"/>
              <a:gd name="T79" fmla="*/ 66 h 174"/>
              <a:gd name="T80" fmla="*/ 852 w 1141"/>
              <a:gd name="T81" fmla="*/ 169 h 174"/>
              <a:gd name="T82" fmla="*/ 886 w 1141"/>
              <a:gd name="T83" fmla="*/ 92 h 174"/>
              <a:gd name="T84" fmla="*/ 313 w 1141"/>
              <a:gd name="T85" fmla="*/ 174 h 174"/>
              <a:gd name="T86" fmla="*/ 296 w 1141"/>
              <a:gd name="T87" fmla="*/ 120 h 174"/>
              <a:gd name="T88" fmla="*/ 296 w 1141"/>
              <a:gd name="T89" fmla="*/ 120 h 174"/>
              <a:gd name="T90" fmla="*/ 1064 w 1141"/>
              <a:gd name="T91" fmla="*/ 92 h 174"/>
              <a:gd name="T92" fmla="*/ 1125 w 1141"/>
              <a:gd name="T93" fmla="*/ 106 h 174"/>
              <a:gd name="T94" fmla="*/ 1138 w 1141"/>
              <a:gd name="T95" fmla="*/ 76 h 174"/>
              <a:gd name="T96" fmla="*/ 1141 w 1141"/>
              <a:gd name="T97" fmla="*/ 71 h 174"/>
              <a:gd name="T98" fmla="*/ 1125 w 1141"/>
              <a:gd name="T99" fmla="*/ 113 h 174"/>
              <a:gd name="T100" fmla="*/ 1141 w 1141"/>
              <a:gd name="T101" fmla="*/ 88 h 174"/>
              <a:gd name="T102" fmla="*/ 1123 w 1141"/>
              <a:gd name="T103" fmla="*/ 94 h 174"/>
              <a:gd name="T104" fmla="*/ 1062 w 1141"/>
              <a:gd name="T105" fmla="*/ 68 h 174"/>
              <a:gd name="T106" fmla="*/ 1048 w 1141"/>
              <a:gd name="T107" fmla="*/ 112 h 174"/>
              <a:gd name="T108" fmla="*/ 1080 w 1141"/>
              <a:gd name="T109" fmla="*/ 99 h 174"/>
              <a:gd name="T110" fmla="*/ 1094 w 1141"/>
              <a:gd name="T111" fmla="*/ 112 h 174"/>
              <a:gd name="T112" fmla="*/ 70 w 1141"/>
              <a:gd name="T113" fmla="*/ 68 h 174"/>
              <a:gd name="T114" fmla="*/ 21 w 1141"/>
              <a:gd name="T115" fmla="*/ 172 h 174"/>
              <a:gd name="T116" fmla="*/ 70 w 1141"/>
              <a:gd name="T117" fmla="*/ 6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41" h="174">
                <a:moveTo>
                  <a:pt x="919" y="120"/>
                </a:moveTo>
                <a:cubicBezTo>
                  <a:pt x="919" y="160"/>
                  <a:pt x="937" y="174"/>
                  <a:pt x="975" y="174"/>
                </a:cubicBezTo>
                <a:cubicBezTo>
                  <a:pt x="992" y="174"/>
                  <a:pt x="1006" y="169"/>
                  <a:pt x="1012" y="167"/>
                </a:cubicBezTo>
                <a:cubicBezTo>
                  <a:pt x="1014" y="167"/>
                  <a:pt x="1015" y="165"/>
                  <a:pt x="1015" y="164"/>
                </a:cubicBezTo>
                <a:cubicBezTo>
                  <a:pt x="1015" y="163"/>
                  <a:pt x="1015" y="163"/>
                  <a:pt x="1015" y="162"/>
                </a:cubicBezTo>
                <a:cubicBezTo>
                  <a:pt x="1012" y="151"/>
                  <a:pt x="1012" y="151"/>
                  <a:pt x="1012" y="151"/>
                </a:cubicBezTo>
                <a:cubicBezTo>
                  <a:pt x="1012" y="151"/>
                  <a:pt x="1012" y="151"/>
                  <a:pt x="1012" y="151"/>
                </a:cubicBezTo>
                <a:cubicBezTo>
                  <a:pt x="1011" y="148"/>
                  <a:pt x="1010" y="148"/>
                  <a:pt x="1008" y="148"/>
                </a:cubicBezTo>
                <a:cubicBezTo>
                  <a:pt x="1008" y="148"/>
                  <a:pt x="1007" y="148"/>
                  <a:pt x="1006" y="148"/>
                </a:cubicBezTo>
                <a:cubicBezTo>
                  <a:pt x="1006" y="148"/>
                  <a:pt x="1006" y="148"/>
                  <a:pt x="1006" y="148"/>
                </a:cubicBezTo>
                <a:cubicBezTo>
                  <a:pt x="1001" y="150"/>
                  <a:pt x="992" y="152"/>
                  <a:pt x="981" y="152"/>
                </a:cubicBezTo>
                <a:cubicBezTo>
                  <a:pt x="973" y="152"/>
                  <a:pt x="966" y="151"/>
                  <a:pt x="962" y="149"/>
                </a:cubicBezTo>
                <a:cubicBezTo>
                  <a:pt x="957" y="146"/>
                  <a:pt x="954" y="141"/>
                  <a:pt x="954" y="133"/>
                </a:cubicBezTo>
                <a:cubicBezTo>
                  <a:pt x="1015" y="133"/>
                  <a:pt x="1015" y="133"/>
                  <a:pt x="1015" y="133"/>
                </a:cubicBezTo>
                <a:cubicBezTo>
                  <a:pt x="1019" y="133"/>
                  <a:pt x="1019" y="130"/>
                  <a:pt x="1019" y="127"/>
                </a:cubicBezTo>
                <a:cubicBezTo>
                  <a:pt x="1019" y="118"/>
                  <a:pt x="1019" y="118"/>
                  <a:pt x="1019" y="118"/>
                </a:cubicBezTo>
                <a:cubicBezTo>
                  <a:pt x="1019" y="100"/>
                  <a:pt x="1016" y="86"/>
                  <a:pt x="1009" y="78"/>
                </a:cubicBezTo>
                <a:cubicBezTo>
                  <a:pt x="1001" y="70"/>
                  <a:pt x="988" y="66"/>
                  <a:pt x="970" y="66"/>
                </a:cubicBezTo>
                <a:cubicBezTo>
                  <a:pt x="932" y="66"/>
                  <a:pt x="919" y="80"/>
                  <a:pt x="919" y="120"/>
                </a:cubicBezTo>
                <a:moveTo>
                  <a:pt x="828" y="96"/>
                </a:moveTo>
                <a:cubicBezTo>
                  <a:pt x="828" y="85"/>
                  <a:pt x="824" y="77"/>
                  <a:pt x="815" y="71"/>
                </a:cubicBezTo>
                <a:cubicBezTo>
                  <a:pt x="808" y="67"/>
                  <a:pt x="798" y="66"/>
                  <a:pt x="784" y="66"/>
                </a:cubicBezTo>
                <a:cubicBezTo>
                  <a:pt x="763" y="66"/>
                  <a:pt x="743" y="71"/>
                  <a:pt x="740" y="73"/>
                </a:cubicBezTo>
                <a:cubicBezTo>
                  <a:pt x="738" y="73"/>
                  <a:pt x="737" y="74"/>
                  <a:pt x="737" y="76"/>
                </a:cubicBezTo>
                <a:cubicBezTo>
                  <a:pt x="737" y="76"/>
                  <a:pt x="737" y="76"/>
                  <a:pt x="737" y="76"/>
                </a:cubicBezTo>
                <a:cubicBezTo>
                  <a:pt x="737" y="76"/>
                  <a:pt x="737" y="77"/>
                  <a:pt x="737" y="77"/>
                </a:cubicBezTo>
                <a:cubicBezTo>
                  <a:pt x="741" y="92"/>
                  <a:pt x="741" y="92"/>
                  <a:pt x="741" y="92"/>
                </a:cubicBezTo>
                <a:cubicBezTo>
                  <a:pt x="741" y="93"/>
                  <a:pt x="742" y="93"/>
                  <a:pt x="743" y="93"/>
                </a:cubicBezTo>
                <a:cubicBezTo>
                  <a:pt x="743" y="93"/>
                  <a:pt x="743" y="93"/>
                  <a:pt x="744" y="93"/>
                </a:cubicBezTo>
                <a:cubicBezTo>
                  <a:pt x="748" y="92"/>
                  <a:pt x="764" y="88"/>
                  <a:pt x="776" y="88"/>
                </a:cubicBezTo>
                <a:cubicBezTo>
                  <a:pt x="783" y="88"/>
                  <a:pt x="787" y="88"/>
                  <a:pt x="790" y="89"/>
                </a:cubicBezTo>
                <a:cubicBezTo>
                  <a:pt x="793" y="91"/>
                  <a:pt x="794" y="94"/>
                  <a:pt x="794" y="100"/>
                </a:cubicBezTo>
                <a:cubicBezTo>
                  <a:pt x="794" y="104"/>
                  <a:pt x="794" y="104"/>
                  <a:pt x="794" y="104"/>
                </a:cubicBezTo>
                <a:cubicBezTo>
                  <a:pt x="760" y="109"/>
                  <a:pt x="760" y="109"/>
                  <a:pt x="760" y="109"/>
                </a:cubicBezTo>
                <a:cubicBezTo>
                  <a:pt x="747" y="111"/>
                  <a:pt x="731" y="115"/>
                  <a:pt x="731" y="140"/>
                </a:cubicBezTo>
                <a:cubicBezTo>
                  <a:pt x="731" y="170"/>
                  <a:pt x="755" y="174"/>
                  <a:pt x="779" y="174"/>
                </a:cubicBezTo>
                <a:cubicBezTo>
                  <a:pt x="791" y="174"/>
                  <a:pt x="800" y="173"/>
                  <a:pt x="808" y="171"/>
                </a:cubicBezTo>
                <a:cubicBezTo>
                  <a:pt x="821" y="168"/>
                  <a:pt x="828" y="166"/>
                  <a:pt x="828" y="151"/>
                </a:cubicBezTo>
                <a:lnTo>
                  <a:pt x="828" y="96"/>
                </a:lnTo>
                <a:close/>
                <a:moveTo>
                  <a:pt x="198" y="131"/>
                </a:moveTo>
                <a:cubicBezTo>
                  <a:pt x="208" y="133"/>
                  <a:pt x="212" y="134"/>
                  <a:pt x="212" y="142"/>
                </a:cubicBezTo>
                <a:cubicBezTo>
                  <a:pt x="212" y="150"/>
                  <a:pt x="205" y="152"/>
                  <a:pt x="198" y="152"/>
                </a:cubicBezTo>
                <a:cubicBezTo>
                  <a:pt x="188" y="152"/>
                  <a:pt x="176" y="149"/>
                  <a:pt x="171" y="148"/>
                </a:cubicBezTo>
                <a:cubicBezTo>
                  <a:pt x="171" y="148"/>
                  <a:pt x="171" y="148"/>
                  <a:pt x="171" y="148"/>
                </a:cubicBezTo>
                <a:cubicBezTo>
                  <a:pt x="171" y="148"/>
                  <a:pt x="171" y="148"/>
                  <a:pt x="171" y="148"/>
                </a:cubicBezTo>
                <a:cubicBezTo>
                  <a:pt x="170" y="148"/>
                  <a:pt x="169" y="148"/>
                  <a:pt x="169" y="148"/>
                </a:cubicBezTo>
                <a:cubicBezTo>
                  <a:pt x="168" y="148"/>
                  <a:pt x="167" y="148"/>
                  <a:pt x="167" y="150"/>
                </a:cubicBezTo>
                <a:cubicBezTo>
                  <a:pt x="165" y="163"/>
                  <a:pt x="165" y="163"/>
                  <a:pt x="165" y="163"/>
                </a:cubicBezTo>
                <a:cubicBezTo>
                  <a:pt x="164" y="164"/>
                  <a:pt x="164" y="165"/>
                  <a:pt x="164" y="165"/>
                </a:cubicBezTo>
                <a:cubicBezTo>
                  <a:pt x="164" y="167"/>
                  <a:pt x="165" y="167"/>
                  <a:pt x="166" y="168"/>
                </a:cubicBezTo>
                <a:cubicBezTo>
                  <a:pt x="170" y="170"/>
                  <a:pt x="186" y="174"/>
                  <a:pt x="203" y="174"/>
                </a:cubicBezTo>
                <a:cubicBezTo>
                  <a:pt x="227" y="174"/>
                  <a:pt x="246" y="165"/>
                  <a:pt x="246" y="139"/>
                </a:cubicBezTo>
                <a:cubicBezTo>
                  <a:pt x="246" y="115"/>
                  <a:pt x="232" y="110"/>
                  <a:pt x="218" y="108"/>
                </a:cubicBezTo>
                <a:cubicBezTo>
                  <a:pt x="215" y="107"/>
                  <a:pt x="215" y="107"/>
                  <a:pt x="215" y="107"/>
                </a:cubicBezTo>
                <a:cubicBezTo>
                  <a:pt x="207" y="106"/>
                  <a:pt x="200" y="104"/>
                  <a:pt x="200" y="96"/>
                </a:cubicBezTo>
                <a:cubicBezTo>
                  <a:pt x="200" y="88"/>
                  <a:pt x="208" y="87"/>
                  <a:pt x="214" y="87"/>
                </a:cubicBezTo>
                <a:cubicBezTo>
                  <a:pt x="222" y="87"/>
                  <a:pt x="230" y="88"/>
                  <a:pt x="234" y="89"/>
                </a:cubicBezTo>
                <a:cubicBezTo>
                  <a:pt x="236" y="90"/>
                  <a:pt x="237" y="90"/>
                  <a:pt x="238" y="90"/>
                </a:cubicBezTo>
                <a:cubicBezTo>
                  <a:pt x="239" y="90"/>
                  <a:pt x="240" y="89"/>
                  <a:pt x="240" y="88"/>
                </a:cubicBezTo>
                <a:cubicBezTo>
                  <a:pt x="241" y="83"/>
                  <a:pt x="242" y="79"/>
                  <a:pt x="243" y="75"/>
                </a:cubicBezTo>
                <a:cubicBezTo>
                  <a:pt x="243" y="75"/>
                  <a:pt x="243" y="74"/>
                  <a:pt x="243" y="73"/>
                </a:cubicBezTo>
                <a:cubicBezTo>
                  <a:pt x="243" y="71"/>
                  <a:pt x="242" y="70"/>
                  <a:pt x="239" y="69"/>
                </a:cubicBezTo>
                <a:cubicBezTo>
                  <a:pt x="234" y="68"/>
                  <a:pt x="222" y="66"/>
                  <a:pt x="209" y="66"/>
                </a:cubicBezTo>
                <a:cubicBezTo>
                  <a:pt x="191" y="66"/>
                  <a:pt x="165" y="68"/>
                  <a:pt x="165" y="98"/>
                </a:cubicBezTo>
                <a:cubicBezTo>
                  <a:pt x="165" y="124"/>
                  <a:pt x="183" y="128"/>
                  <a:pt x="196" y="131"/>
                </a:cubicBezTo>
                <a:lnTo>
                  <a:pt x="198" y="131"/>
                </a:lnTo>
                <a:close/>
                <a:moveTo>
                  <a:pt x="41" y="106"/>
                </a:moveTo>
                <a:cubicBezTo>
                  <a:pt x="41" y="72"/>
                  <a:pt x="41" y="72"/>
                  <a:pt x="41" y="72"/>
                </a:cubicBezTo>
                <a:cubicBezTo>
                  <a:pt x="41" y="50"/>
                  <a:pt x="50" y="40"/>
                  <a:pt x="70" y="40"/>
                </a:cubicBezTo>
                <a:cubicBezTo>
                  <a:pt x="84" y="40"/>
                  <a:pt x="84" y="40"/>
                  <a:pt x="84" y="40"/>
                </a:cubicBezTo>
                <a:cubicBezTo>
                  <a:pt x="89" y="0"/>
                  <a:pt x="89" y="0"/>
                  <a:pt x="89" y="0"/>
                </a:cubicBezTo>
                <a:cubicBezTo>
                  <a:pt x="66" y="0"/>
                  <a:pt x="66" y="0"/>
                  <a:pt x="66" y="0"/>
                </a:cubicBezTo>
                <a:cubicBezTo>
                  <a:pt x="26" y="0"/>
                  <a:pt x="0" y="29"/>
                  <a:pt x="0" y="69"/>
                </a:cubicBezTo>
                <a:cubicBezTo>
                  <a:pt x="0" y="106"/>
                  <a:pt x="0" y="106"/>
                  <a:pt x="0" y="106"/>
                </a:cubicBezTo>
                <a:lnTo>
                  <a:pt x="41" y="106"/>
                </a:lnTo>
                <a:close/>
                <a:moveTo>
                  <a:pt x="794" y="152"/>
                </a:moveTo>
                <a:cubicBezTo>
                  <a:pt x="793" y="152"/>
                  <a:pt x="787" y="153"/>
                  <a:pt x="780" y="153"/>
                </a:cubicBezTo>
                <a:cubicBezTo>
                  <a:pt x="773" y="153"/>
                  <a:pt x="763" y="152"/>
                  <a:pt x="763" y="139"/>
                </a:cubicBezTo>
                <a:cubicBezTo>
                  <a:pt x="763" y="128"/>
                  <a:pt x="769" y="127"/>
                  <a:pt x="776" y="126"/>
                </a:cubicBezTo>
                <a:cubicBezTo>
                  <a:pt x="794" y="123"/>
                  <a:pt x="794" y="123"/>
                  <a:pt x="794" y="123"/>
                </a:cubicBezTo>
                <a:lnTo>
                  <a:pt x="794" y="152"/>
                </a:lnTo>
                <a:close/>
                <a:moveTo>
                  <a:pt x="953" y="114"/>
                </a:moveTo>
                <a:cubicBezTo>
                  <a:pt x="953" y="112"/>
                  <a:pt x="953" y="112"/>
                  <a:pt x="953" y="112"/>
                </a:cubicBezTo>
                <a:cubicBezTo>
                  <a:pt x="953" y="109"/>
                  <a:pt x="953" y="103"/>
                  <a:pt x="954" y="98"/>
                </a:cubicBezTo>
                <a:cubicBezTo>
                  <a:pt x="956" y="92"/>
                  <a:pt x="959" y="87"/>
                  <a:pt x="970" y="87"/>
                </a:cubicBezTo>
                <a:cubicBezTo>
                  <a:pt x="979" y="87"/>
                  <a:pt x="984" y="91"/>
                  <a:pt x="986" y="97"/>
                </a:cubicBezTo>
                <a:cubicBezTo>
                  <a:pt x="987" y="101"/>
                  <a:pt x="987" y="107"/>
                  <a:pt x="987" y="111"/>
                </a:cubicBezTo>
                <a:cubicBezTo>
                  <a:pt x="987" y="114"/>
                  <a:pt x="987" y="114"/>
                  <a:pt x="987" y="114"/>
                </a:cubicBezTo>
                <a:lnTo>
                  <a:pt x="953" y="114"/>
                </a:lnTo>
                <a:close/>
                <a:moveTo>
                  <a:pt x="682" y="139"/>
                </a:moveTo>
                <a:cubicBezTo>
                  <a:pt x="682" y="150"/>
                  <a:pt x="675" y="153"/>
                  <a:pt x="667" y="153"/>
                </a:cubicBezTo>
                <a:cubicBezTo>
                  <a:pt x="660" y="153"/>
                  <a:pt x="653" y="151"/>
                  <a:pt x="653" y="151"/>
                </a:cubicBezTo>
                <a:cubicBezTo>
                  <a:pt x="653" y="71"/>
                  <a:pt x="653" y="71"/>
                  <a:pt x="653" y="71"/>
                </a:cubicBezTo>
                <a:cubicBezTo>
                  <a:pt x="653" y="69"/>
                  <a:pt x="652" y="68"/>
                  <a:pt x="650" y="68"/>
                </a:cubicBezTo>
                <a:cubicBezTo>
                  <a:pt x="621" y="68"/>
                  <a:pt x="621" y="68"/>
                  <a:pt x="621" y="68"/>
                </a:cubicBezTo>
                <a:cubicBezTo>
                  <a:pt x="620" y="68"/>
                  <a:pt x="619" y="69"/>
                  <a:pt x="619" y="71"/>
                </a:cubicBezTo>
                <a:cubicBezTo>
                  <a:pt x="619" y="139"/>
                  <a:pt x="619" y="139"/>
                  <a:pt x="619" y="139"/>
                </a:cubicBezTo>
                <a:cubicBezTo>
                  <a:pt x="619" y="150"/>
                  <a:pt x="615" y="153"/>
                  <a:pt x="607" y="153"/>
                </a:cubicBezTo>
                <a:cubicBezTo>
                  <a:pt x="600" y="153"/>
                  <a:pt x="590" y="151"/>
                  <a:pt x="590" y="151"/>
                </a:cubicBezTo>
                <a:cubicBezTo>
                  <a:pt x="590" y="71"/>
                  <a:pt x="590" y="71"/>
                  <a:pt x="590" y="71"/>
                </a:cubicBezTo>
                <a:cubicBezTo>
                  <a:pt x="590" y="69"/>
                  <a:pt x="589" y="68"/>
                  <a:pt x="587" y="68"/>
                </a:cubicBezTo>
                <a:cubicBezTo>
                  <a:pt x="505" y="68"/>
                  <a:pt x="505" y="68"/>
                  <a:pt x="505" y="68"/>
                </a:cubicBezTo>
                <a:cubicBezTo>
                  <a:pt x="505" y="36"/>
                  <a:pt x="505" y="36"/>
                  <a:pt x="505" y="36"/>
                </a:cubicBezTo>
                <a:cubicBezTo>
                  <a:pt x="505" y="34"/>
                  <a:pt x="504" y="33"/>
                  <a:pt x="502" y="33"/>
                </a:cubicBezTo>
                <a:cubicBezTo>
                  <a:pt x="501" y="33"/>
                  <a:pt x="500" y="33"/>
                  <a:pt x="500" y="33"/>
                </a:cubicBezTo>
                <a:cubicBezTo>
                  <a:pt x="475" y="37"/>
                  <a:pt x="475" y="37"/>
                  <a:pt x="475" y="37"/>
                </a:cubicBezTo>
                <a:cubicBezTo>
                  <a:pt x="472" y="38"/>
                  <a:pt x="471" y="40"/>
                  <a:pt x="471" y="42"/>
                </a:cubicBezTo>
                <a:cubicBezTo>
                  <a:pt x="471" y="68"/>
                  <a:pt x="471" y="68"/>
                  <a:pt x="471" y="68"/>
                </a:cubicBezTo>
                <a:cubicBezTo>
                  <a:pt x="425" y="68"/>
                  <a:pt x="425" y="68"/>
                  <a:pt x="425" y="68"/>
                </a:cubicBezTo>
                <a:cubicBezTo>
                  <a:pt x="425" y="57"/>
                  <a:pt x="425" y="57"/>
                  <a:pt x="425" y="57"/>
                </a:cubicBezTo>
                <a:cubicBezTo>
                  <a:pt x="425" y="53"/>
                  <a:pt x="426" y="50"/>
                  <a:pt x="427" y="49"/>
                </a:cubicBezTo>
                <a:cubicBezTo>
                  <a:pt x="430" y="47"/>
                  <a:pt x="432" y="46"/>
                  <a:pt x="437" y="46"/>
                </a:cubicBezTo>
                <a:cubicBezTo>
                  <a:pt x="440" y="46"/>
                  <a:pt x="445" y="47"/>
                  <a:pt x="447" y="47"/>
                </a:cubicBezTo>
                <a:cubicBezTo>
                  <a:pt x="447" y="47"/>
                  <a:pt x="448" y="47"/>
                  <a:pt x="448" y="47"/>
                </a:cubicBezTo>
                <a:cubicBezTo>
                  <a:pt x="449" y="48"/>
                  <a:pt x="450" y="48"/>
                  <a:pt x="451" y="48"/>
                </a:cubicBezTo>
                <a:cubicBezTo>
                  <a:pt x="452" y="48"/>
                  <a:pt x="452" y="47"/>
                  <a:pt x="452" y="45"/>
                </a:cubicBezTo>
                <a:cubicBezTo>
                  <a:pt x="455" y="31"/>
                  <a:pt x="455" y="31"/>
                  <a:pt x="455" y="31"/>
                </a:cubicBezTo>
                <a:cubicBezTo>
                  <a:pt x="455" y="31"/>
                  <a:pt x="455" y="30"/>
                  <a:pt x="455" y="29"/>
                </a:cubicBezTo>
                <a:cubicBezTo>
                  <a:pt x="455" y="28"/>
                  <a:pt x="454" y="27"/>
                  <a:pt x="453" y="26"/>
                </a:cubicBezTo>
                <a:cubicBezTo>
                  <a:pt x="450" y="26"/>
                  <a:pt x="441" y="23"/>
                  <a:pt x="426" y="23"/>
                </a:cubicBezTo>
                <a:cubicBezTo>
                  <a:pt x="402" y="23"/>
                  <a:pt x="391" y="34"/>
                  <a:pt x="391" y="55"/>
                </a:cubicBezTo>
                <a:cubicBezTo>
                  <a:pt x="391" y="68"/>
                  <a:pt x="391" y="68"/>
                  <a:pt x="391" y="68"/>
                </a:cubicBezTo>
                <a:cubicBezTo>
                  <a:pt x="376" y="68"/>
                  <a:pt x="376" y="68"/>
                  <a:pt x="376" y="68"/>
                </a:cubicBezTo>
                <a:cubicBezTo>
                  <a:pt x="374" y="68"/>
                  <a:pt x="373" y="69"/>
                  <a:pt x="373" y="71"/>
                </a:cubicBezTo>
                <a:cubicBezTo>
                  <a:pt x="373" y="89"/>
                  <a:pt x="373" y="89"/>
                  <a:pt x="373" y="89"/>
                </a:cubicBezTo>
                <a:cubicBezTo>
                  <a:pt x="373" y="90"/>
                  <a:pt x="374" y="91"/>
                  <a:pt x="376" y="91"/>
                </a:cubicBezTo>
                <a:cubicBezTo>
                  <a:pt x="391" y="91"/>
                  <a:pt x="391" y="91"/>
                  <a:pt x="391" y="91"/>
                </a:cubicBezTo>
                <a:cubicBezTo>
                  <a:pt x="391" y="169"/>
                  <a:pt x="391" y="169"/>
                  <a:pt x="391" y="169"/>
                </a:cubicBezTo>
                <a:cubicBezTo>
                  <a:pt x="391" y="170"/>
                  <a:pt x="392" y="171"/>
                  <a:pt x="393" y="171"/>
                </a:cubicBezTo>
                <a:cubicBezTo>
                  <a:pt x="422" y="171"/>
                  <a:pt x="422" y="171"/>
                  <a:pt x="422" y="171"/>
                </a:cubicBezTo>
                <a:cubicBezTo>
                  <a:pt x="424" y="171"/>
                  <a:pt x="425" y="170"/>
                  <a:pt x="425" y="169"/>
                </a:cubicBezTo>
                <a:cubicBezTo>
                  <a:pt x="425" y="91"/>
                  <a:pt x="425" y="91"/>
                  <a:pt x="425" y="91"/>
                </a:cubicBezTo>
                <a:cubicBezTo>
                  <a:pt x="471" y="91"/>
                  <a:pt x="471" y="91"/>
                  <a:pt x="471" y="91"/>
                </a:cubicBezTo>
                <a:cubicBezTo>
                  <a:pt x="471" y="139"/>
                  <a:pt x="471" y="139"/>
                  <a:pt x="471" y="139"/>
                </a:cubicBezTo>
                <a:cubicBezTo>
                  <a:pt x="471" y="164"/>
                  <a:pt x="484" y="173"/>
                  <a:pt x="508" y="173"/>
                </a:cubicBezTo>
                <a:cubicBezTo>
                  <a:pt x="522" y="173"/>
                  <a:pt x="531" y="170"/>
                  <a:pt x="533" y="169"/>
                </a:cubicBezTo>
                <a:cubicBezTo>
                  <a:pt x="535" y="169"/>
                  <a:pt x="536" y="168"/>
                  <a:pt x="536" y="166"/>
                </a:cubicBezTo>
                <a:cubicBezTo>
                  <a:pt x="536" y="165"/>
                  <a:pt x="536" y="164"/>
                  <a:pt x="536" y="164"/>
                </a:cubicBezTo>
                <a:cubicBezTo>
                  <a:pt x="533" y="150"/>
                  <a:pt x="533" y="150"/>
                  <a:pt x="533" y="150"/>
                </a:cubicBezTo>
                <a:cubicBezTo>
                  <a:pt x="532" y="149"/>
                  <a:pt x="532" y="148"/>
                  <a:pt x="531" y="148"/>
                </a:cubicBezTo>
                <a:cubicBezTo>
                  <a:pt x="531" y="148"/>
                  <a:pt x="530" y="148"/>
                  <a:pt x="529" y="148"/>
                </a:cubicBezTo>
                <a:cubicBezTo>
                  <a:pt x="529" y="148"/>
                  <a:pt x="529" y="148"/>
                  <a:pt x="528" y="148"/>
                </a:cubicBezTo>
                <a:cubicBezTo>
                  <a:pt x="526" y="149"/>
                  <a:pt x="522" y="149"/>
                  <a:pt x="517" y="149"/>
                </a:cubicBezTo>
                <a:cubicBezTo>
                  <a:pt x="507" y="149"/>
                  <a:pt x="505" y="144"/>
                  <a:pt x="505" y="137"/>
                </a:cubicBezTo>
                <a:cubicBezTo>
                  <a:pt x="505" y="92"/>
                  <a:pt x="505" y="92"/>
                  <a:pt x="505" y="92"/>
                </a:cubicBezTo>
                <a:cubicBezTo>
                  <a:pt x="556" y="92"/>
                  <a:pt x="556" y="92"/>
                  <a:pt x="556" y="92"/>
                </a:cubicBezTo>
                <a:cubicBezTo>
                  <a:pt x="556" y="159"/>
                  <a:pt x="556" y="159"/>
                  <a:pt x="556" y="159"/>
                </a:cubicBezTo>
                <a:cubicBezTo>
                  <a:pt x="556" y="165"/>
                  <a:pt x="562" y="168"/>
                  <a:pt x="573" y="170"/>
                </a:cubicBezTo>
                <a:cubicBezTo>
                  <a:pt x="582" y="172"/>
                  <a:pt x="594" y="174"/>
                  <a:pt x="604" y="174"/>
                </a:cubicBezTo>
                <a:cubicBezTo>
                  <a:pt x="616" y="174"/>
                  <a:pt x="628" y="172"/>
                  <a:pt x="637" y="165"/>
                </a:cubicBezTo>
                <a:cubicBezTo>
                  <a:pt x="649" y="172"/>
                  <a:pt x="662" y="174"/>
                  <a:pt x="675" y="174"/>
                </a:cubicBezTo>
                <a:cubicBezTo>
                  <a:pt x="699" y="174"/>
                  <a:pt x="715" y="168"/>
                  <a:pt x="715" y="144"/>
                </a:cubicBezTo>
                <a:cubicBezTo>
                  <a:pt x="715" y="71"/>
                  <a:pt x="715" y="71"/>
                  <a:pt x="715" y="71"/>
                </a:cubicBezTo>
                <a:cubicBezTo>
                  <a:pt x="715" y="69"/>
                  <a:pt x="714" y="68"/>
                  <a:pt x="713" y="68"/>
                </a:cubicBezTo>
                <a:cubicBezTo>
                  <a:pt x="684" y="68"/>
                  <a:pt x="684" y="68"/>
                  <a:pt x="684" y="68"/>
                </a:cubicBezTo>
                <a:cubicBezTo>
                  <a:pt x="683" y="68"/>
                  <a:pt x="682" y="69"/>
                  <a:pt x="682" y="71"/>
                </a:cubicBezTo>
                <a:lnTo>
                  <a:pt x="682" y="139"/>
                </a:lnTo>
                <a:close/>
                <a:moveTo>
                  <a:pt x="912" y="86"/>
                </a:moveTo>
                <a:cubicBezTo>
                  <a:pt x="912" y="70"/>
                  <a:pt x="912" y="70"/>
                  <a:pt x="912" y="70"/>
                </a:cubicBezTo>
                <a:cubicBezTo>
                  <a:pt x="912" y="67"/>
                  <a:pt x="911" y="66"/>
                  <a:pt x="908" y="66"/>
                </a:cubicBezTo>
                <a:cubicBezTo>
                  <a:pt x="905" y="66"/>
                  <a:pt x="905" y="66"/>
                  <a:pt x="905" y="66"/>
                </a:cubicBezTo>
                <a:cubicBezTo>
                  <a:pt x="893" y="66"/>
                  <a:pt x="879" y="67"/>
                  <a:pt x="870" y="69"/>
                </a:cubicBezTo>
                <a:cubicBezTo>
                  <a:pt x="858" y="72"/>
                  <a:pt x="852" y="74"/>
                  <a:pt x="852" y="81"/>
                </a:cubicBezTo>
                <a:cubicBezTo>
                  <a:pt x="852" y="169"/>
                  <a:pt x="852" y="169"/>
                  <a:pt x="852" y="169"/>
                </a:cubicBezTo>
                <a:cubicBezTo>
                  <a:pt x="852" y="170"/>
                  <a:pt x="853" y="171"/>
                  <a:pt x="855" y="171"/>
                </a:cubicBezTo>
                <a:cubicBezTo>
                  <a:pt x="884" y="171"/>
                  <a:pt x="884" y="171"/>
                  <a:pt x="884" y="171"/>
                </a:cubicBezTo>
                <a:cubicBezTo>
                  <a:pt x="885" y="171"/>
                  <a:pt x="886" y="170"/>
                  <a:pt x="886" y="169"/>
                </a:cubicBezTo>
                <a:cubicBezTo>
                  <a:pt x="886" y="92"/>
                  <a:pt x="886" y="92"/>
                  <a:pt x="886" y="92"/>
                </a:cubicBezTo>
                <a:cubicBezTo>
                  <a:pt x="888" y="91"/>
                  <a:pt x="897" y="90"/>
                  <a:pt x="909" y="90"/>
                </a:cubicBezTo>
                <a:cubicBezTo>
                  <a:pt x="912" y="90"/>
                  <a:pt x="912" y="88"/>
                  <a:pt x="912" y="86"/>
                </a:cubicBezTo>
                <a:moveTo>
                  <a:pt x="261" y="120"/>
                </a:moveTo>
                <a:cubicBezTo>
                  <a:pt x="261" y="150"/>
                  <a:pt x="268" y="174"/>
                  <a:pt x="313" y="174"/>
                </a:cubicBezTo>
                <a:cubicBezTo>
                  <a:pt x="358" y="174"/>
                  <a:pt x="364" y="150"/>
                  <a:pt x="364" y="120"/>
                </a:cubicBezTo>
                <a:cubicBezTo>
                  <a:pt x="364" y="89"/>
                  <a:pt x="358" y="66"/>
                  <a:pt x="313" y="66"/>
                </a:cubicBezTo>
                <a:cubicBezTo>
                  <a:pt x="268" y="66"/>
                  <a:pt x="261" y="89"/>
                  <a:pt x="261" y="120"/>
                </a:cubicBezTo>
                <a:moveTo>
                  <a:pt x="296" y="120"/>
                </a:moveTo>
                <a:cubicBezTo>
                  <a:pt x="296" y="97"/>
                  <a:pt x="297" y="88"/>
                  <a:pt x="313" y="88"/>
                </a:cubicBezTo>
                <a:cubicBezTo>
                  <a:pt x="328" y="88"/>
                  <a:pt x="329" y="97"/>
                  <a:pt x="329" y="120"/>
                </a:cubicBezTo>
                <a:cubicBezTo>
                  <a:pt x="329" y="143"/>
                  <a:pt x="328" y="152"/>
                  <a:pt x="313" y="152"/>
                </a:cubicBezTo>
                <a:cubicBezTo>
                  <a:pt x="297" y="152"/>
                  <a:pt x="296" y="143"/>
                  <a:pt x="296" y="120"/>
                </a:cubicBezTo>
                <a:moveTo>
                  <a:pt x="1069" y="75"/>
                </a:moveTo>
                <a:cubicBezTo>
                  <a:pt x="1073" y="75"/>
                  <a:pt x="1073" y="75"/>
                  <a:pt x="1073" y="75"/>
                </a:cubicBezTo>
                <a:cubicBezTo>
                  <a:pt x="1078" y="92"/>
                  <a:pt x="1078" y="92"/>
                  <a:pt x="1078" y="92"/>
                </a:cubicBezTo>
                <a:cubicBezTo>
                  <a:pt x="1064" y="92"/>
                  <a:pt x="1064" y="92"/>
                  <a:pt x="1064" y="92"/>
                </a:cubicBezTo>
                <a:lnTo>
                  <a:pt x="1069" y="75"/>
                </a:lnTo>
                <a:close/>
                <a:moveTo>
                  <a:pt x="1131" y="95"/>
                </a:moveTo>
                <a:cubicBezTo>
                  <a:pt x="1131" y="106"/>
                  <a:pt x="1131" y="106"/>
                  <a:pt x="1131" y="106"/>
                </a:cubicBezTo>
                <a:cubicBezTo>
                  <a:pt x="1131" y="106"/>
                  <a:pt x="1128" y="106"/>
                  <a:pt x="1125" y="106"/>
                </a:cubicBezTo>
                <a:cubicBezTo>
                  <a:pt x="1117" y="106"/>
                  <a:pt x="1112" y="104"/>
                  <a:pt x="1112" y="91"/>
                </a:cubicBezTo>
                <a:cubicBezTo>
                  <a:pt x="1112" y="77"/>
                  <a:pt x="1117" y="75"/>
                  <a:pt x="1126" y="75"/>
                </a:cubicBezTo>
                <a:cubicBezTo>
                  <a:pt x="1130" y="75"/>
                  <a:pt x="1134" y="76"/>
                  <a:pt x="1137" y="76"/>
                </a:cubicBezTo>
                <a:cubicBezTo>
                  <a:pt x="1137" y="76"/>
                  <a:pt x="1138" y="76"/>
                  <a:pt x="1138" y="76"/>
                </a:cubicBezTo>
                <a:cubicBezTo>
                  <a:pt x="1138" y="76"/>
                  <a:pt x="1139" y="76"/>
                  <a:pt x="1139" y="76"/>
                </a:cubicBezTo>
                <a:cubicBezTo>
                  <a:pt x="1140" y="76"/>
                  <a:pt x="1140" y="76"/>
                  <a:pt x="1140" y="75"/>
                </a:cubicBezTo>
                <a:cubicBezTo>
                  <a:pt x="1141" y="72"/>
                  <a:pt x="1141" y="72"/>
                  <a:pt x="1141" y="72"/>
                </a:cubicBezTo>
                <a:cubicBezTo>
                  <a:pt x="1141" y="72"/>
                  <a:pt x="1141" y="71"/>
                  <a:pt x="1141" y="71"/>
                </a:cubicBezTo>
                <a:cubicBezTo>
                  <a:pt x="1141" y="70"/>
                  <a:pt x="1140" y="70"/>
                  <a:pt x="1140" y="70"/>
                </a:cubicBezTo>
                <a:cubicBezTo>
                  <a:pt x="1139" y="69"/>
                  <a:pt x="1132" y="67"/>
                  <a:pt x="1124" y="67"/>
                </a:cubicBezTo>
                <a:cubicBezTo>
                  <a:pt x="1108" y="67"/>
                  <a:pt x="1101" y="73"/>
                  <a:pt x="1101" y="90"/>
                </a:cubicBezTo>
                <a:cubicBezTo>
                  <a:pt x="1101" y="107"/>
                  <a:pt x="1107" y="113"/>
                  <a:pt x="1125" y="113"/>
                </a:cubicBezTo>
                <a:cubicBezTo>
                  <a:pt x="1129" y="113"/>
                  <a:pt x="1135" y="112"/>
                  <a:pt x="1137" y="112"/>
                </a:cubicBezTo>
                <a:cubicBezTo>
                  <a:pt x="1137" y="112"/>
                  <a:pt x="1137" y="112"/>
                  <a:pt x="1137" y="112"/>
                </a:cubicBezTo>
                <a:cubicBezTo>
                  <a:pt x="1140" y="111"/>
                  <a:pt x="1141" y="110"/>
                  <a:pt x="1141" y="107"/>
                </a:cubicBezTo>
                <a:cubicBezTo>
                  <a:pt x="1141" y="88"/>
                  <a:pt x="1141" y="88"/>
                  <a:pt x="1141" y="88"/>
                </a:cubicBezTo>
                <a:cubicBezTo>
                  <a:pt x="1141" y="88"/>
                  <a:pt x="1141" y="88"/>
                  <a:pt x="1140" y="88"/>
                </a:cubicBezTo>
                <a:cubicBezTo>
                  <a:pt x="1124" y="88"/>
                  <a:pt x="1124" y="88"/>
                  <a:pt x="1124" y="88"/>
                </a:cubicBezTo>
                <a:cubicBezTo>
                  <a:pt x="1123" y="88"/>
                  <a:pt x="1123" y="88"/>
                  <a:pt x="1123" y="88"/>
                </a:cubicBezTo>
                <a:cubicBezTo>
                  <a:pt x="1123" y="94"/>
                  <a:pt x="1123" y="94"/>
                  <a:pt x="1123" y="94"/>
                </a:cubicBezTo>
                <a:cubicBezTo>
                  <a:pt x="1123" y="94"/>
                  <a:pt x="1123" y="95"/>
                  <a:pt x="1124" y="95"/>
                </a:cubicBezTo>
                <a:lnTo>
                  <a:pt x="1131" y="95"/>
                </a:lnTo>
                <a:close/>
                <a:moveTo>
                  <a:pt x="1079" y="68"/>
                </a:moveTo>
                <a:cubicBezTo>
                  <a:pt x="1062" y="68"/>
                  <a:pt x="1062" y="68"/>
                  <a:pt x="1062" y="68"/>
                </a:cubicBezTo>
                <a:cubicBezTo>
                  <a:pt x="1062" y="68"/>
                  <a:pt x="1062" y="69"/>
                  <a:pt x="1062" y="69"/>
                </a:cubicBezTo>
                <a:cubicBezTo>
                  <a:pt x="1047" y="111"/>
                  <a:pt x="1047" y="111"/>
                  <a:pt x="1047" y="111"/>
                </a:cubicBezTo>
                <a:cubicBezTo>
                  <a:pt x="1047" y="111"/>
                  <a:pt x="1047" y="112"/>
                  <a:pt x="1047" y="112"/>
                </a:cubicBezTo>
                <a:cubicBezTo>
                  <a:pt x="1047" y="112"/>
                  <a:pt x="1047" y="112"/>
                  <a:pt x="1048" y="112"/>
                </a:cubicBezTo>
                <a:cubicBezTo>
                  <a:pt x="1058" y="112"/>
                  <a:pt x="1058" y="112"/>
                  <a:pt x="1058" y="112"/>
                </a:cubicBezTo>
                <a:cubicBezTo>
                  <a:pt x="1059" y="112"/>
                  <a:pt x="1059" y="112"/>
                  <a:pt x="1059" y="112"/>
                </a:cubicBezTo>
                <a:cubicBezTo>
                  <a:pt x="1062" y="99"/>
                  <a:pt x="1062" y="99"/>
                  <a:pt x="1062" y="99"/>
                </a:cubicBezTo>
                <a:cubicBezTo>
                  <a:pt x="1080" y="99"/>
                  <a:pt x="1080" y="99"/>
                  <a:pt x="1080" y="99"/>
                </a:cubicBezTo>
                <a:cubicBezTo>
                  <a:pt x="1083" y="112"/>
                  <a:pt x="1083" y="112"/>
                  <a:pt x="1083" y="112"/>
                </a:cubicBezTo>
                <a:cubicBezTo>
                  <a:pt x="1083" y="112"/>
                  <a:pt x="1083" y="112"/>
                  <a:pt x="1083" y="112"/>
                </a:cubicBezTo>
                <a:cubicBezTo>
                  <a:pt x="1093" y="112"/>
                  <a:pt x="1093" y="112"/>
                  <a:pt x="1093" y="112"/>
                </a:cubicBezTo>
                <a:cubicBezTo>
                  <a:pt x="1094" y="112"/>
                  <a:pt x="1094" y="112"/>
                  <a:pt x="1094" y="112"/>
                </a:cubicBezTo>
                <a:cubicBezTo>
                  <a:pt x="1094" y="112"/>
                  <a:pt x="1094" y="111"/>
                  <a:pt x="1094" y="111"/>
                </a:cubicBezTo>
                <a:cubicBezTo>
                  <a:pt x="1080" y="69"/>
                  <a:pt x="1080" y="69"/>
                  <a:pt x="1080" y="69"/>
                </a:cubicBezTo>
                <a:cubicBezTo>
                  <a:pt x="1080" y="69"/>
                  <a:pt x="1080" y="68"/>
                  <a:pt x="1079" y="68"/>
                </a:cubicBezTo>
                <a:moveTo>
                  <a:pt x="70" y="68"/>
                </a:moveTo>
                <a:cubicBezTo>
                  <a:pt x="70" y="98"/>
                  <a:pt x="70" y="98"/>
                  <a:pt x="70" y="98"/>
                </a:cubicBezTo>
                <a:cubicBezTo>
                  <a:pt x="70" y="119"/>
                  <a:pt x="61" y="132"/>
                  <a:pt x="41" y="132"/>
                </a:cubicBezTo>
                <a:cubicBezTo>
                  <a:pt x="26" y="132"/>
                  <a:pt x="26" y="132"/>
                  <a:pt x="26" y="132"/>
                </a:cubicBezTo>
                <a:cubicBezTo>
                  <a:pt x="21" y="172"/>
                  <a:pt x="21" y="172"/>
                  <a:pt x="21" y="172"/>
                </a:cubicBezTo>
                <a:cubicBezTo>
                  <a:pt x="43" y="172"/>
                  <a:pt x="43" y="172"/>
                  <a:pt x="43" y="172"/>
                </a:cubicBezTo>
                <a:cubicBezTo>
                  <a:pt x="81" y="172"/>
                  <a:pt x="111" y="145"/>
                  <a:pt x="111" y="101"/>
                </a:cubicBezTo>
                <a:cubicBezTo>
                  <a:pt x="111" y="68"/>
                  <a:pt x="111" y="68"/>
                  <a:pt x="111" y="68"/>
                </a:cubicBezTo>
                <a:lnTo>
                  <a:pt x="70" y="68"/>
                </a:lnTo>
                <a:close/>
              </a:path>
            </a:pathLst>
          </a:custGeom>
          <a:solidFill>
            <a:schemeClr val="tx2"/>
          </a:solidFill>
          <a:ln>
            <a:noFill/>
          </a:ln>
        </p:spPr>
        <p:txBody>
          <a:bodyPr vert="horz" wrap="square" lIns="121920" tIns="60960" rIns="121920" bIns="60960" numCol="1" anchor="t" anchorCtr="0" compatLnSpc="1">
            <a:prstTxWarp prst="textNoShape">
              <a:avLst/>
            </a:prstTxWarp>
          </a:bodyPr>
          <a:lstStyle/>
          <a:p>
            <a:pPr lvl="0"/>
            <a:endParaRPr lang="en-US" sz="2489" baseline="0" dirty="0">
              <a:solidFill>
                <a:srgbClr val="011F3D"/>
              </a:solidFill>
              <a:latin typeface="+mn-lt"/>
              <a:cs typeface="+mn-cs"/>
            </a:endParaRPr>
          </a:p>
        </p:txBody>
      </p:sp>
      <p:sp>
        <p:nvSpPr>
          <p:cNvPr id="18" name="TextBox 17" hidden="1">
            <a:extLst>
              <a:ext uri="{FF2B5EF4-FFF2-40B4-BE49-F238E27FC236}">
                <a16:creationId xmlns:a16="http://schemas.microsoft.com/office/drawing/2014/main" id="{E37270D5-30B8-41CF-9FD6-81CF629B3D85}"/>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D11101</a:t>
            </a:r>
          </a:p>
        </p:txBody>
      </p:sp>
      <p:sp>
        <p:nvSpPr>
          <p:cNvPr id="19" name="Flight Mode" hidden="1">
            <a:extLst>
              <a:ext uri="{FF2B5EF4-FFF2-40B4-BE49-F238E27FC236}">
                <a16:creationId xmlns:a16="http://schemas.microsoft.com/office/drawing/2014/main" id="{F4E13ADF-9F1D-4EB5-9379-393EFDD513D1}"/>
              </a:ext>
            </a:extLst>
          </p:cNvPr>
          <p:cNvSpPr/>
          <p:nvPr userDrawn="1">
            <p:custDataLst>
              <p:tags r:id="rId2"/>
            </p:custDataLst>
          </p:nvPr>
        </p:nvSpPr>
        <p:spPr>
          <a:xfrm>
            <a:off x="8021400" y="5366368"/>
            <a:ext cx="1981200" cy="701057"/>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lnSpc>
                <a:spcPct val="120000"/>
              </a:lnSpc>
              <a:spcAft>
                <a:spcPts val="700"/>
              </a:spcAft>
            </a:pPr>
            <a:endParaRPr lang="en-US" dirty="0">
              <a:solidFill>
                <a:schemeClr val="tx1"/>
              </a:solidFill>
            </a:endParaRPr>
          </a:p>
        </p:txBody>
      </p:sp>
    </p:spTree>
    <p:extLst>
      <p:ext uri="{BB962C8B-B14F-4D97-AF65-F5344CB8AC3E}">
        <p14:creationId xmlns:p14="http://schemas.microsoft.com/office/powerpoint/2010/main" val="150336312"/>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28">
          <p15:clr>
            <a:srgbClr val="FFFFFF"/>
          </p15:clr>
        </p15:guide>
        <p15:guide id="2" orient="horz" pos="1793">
          <p15:clr>
            <a:srgbClr val="FFFFFF"/>
          </p15:clr>
        </p15:guide>
        <p15:guide id="3" pos="6350" userDrawn="1">
          <p15:clr>
            <a:srgbClr val="FFFFFF"/>
          </p15:clr>
        </p15:guide>
        <p15:guide id="4" orient="horz" pos="3078">
          <p15:clr>
            <a:srgbClr val="FFFFFF"/>
          </p15:clr>
        </p15:guide>
        <p15:guide id="5" orient="horz" pos="3323">
          <p15:clr>
            <a:srgbClr val="FFFFFF"/>
          </p15:clr>
        </p15:guide>
        <p15:guide id="7" orient="horz" pos="3874">
          <p15:clr>
            <a:srgbClr val="FFFFF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Content"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BCC339-C6FB-432B-B235-1FCCE649C4BC}"/>
              </a:ext>
            </a:extLst>
          </p:cNvPr>
          <p:cNvSpPr>
            <a:spLocks noGrp="1"/>
          </p:cNvSpPr>
          <p:nvPr>
            <p:ph type="title"/>
          </p:nvPr>
        </p:nvSpPr>
        <p:spPr/>
        <p:txBody>
          <a:bodyPr/>
          <a:lstStyle>
            <a:lvl1pPr>
              <a:defRPr baseline="0"/>
            </a:lvl1p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BE5A0187-1D75-4CD8-BE6E-5C14C91FEF43}"/>
              </a:ext>
            </a:extLst>
          </p:cNvPr>
          <p:cNvSpPr>
            <a:spLocks noGrp="1"/>
          </p:cNvSpPr>
          <p:nvPr>
            <p:ph type="dt" sz="half" idx="2"/>
          </p:nvPr>
        </p:nvSpPr>
        <p:spPr/>
        <p:txBody>
          <a:bodyPr/>
          <a:lstStyle>
            <a:lvl1pPr>
              <a:defRPr baseline="0">
                <a:latin typeface="+mn-lt"/>
                <a:cs typeface="+mn-cs"/>
              </a:defRPr>
            </a:lvl1pPr>
          </a:lstStyle>
          <a:p>
            <a:fld id="{04A728B0-2EE8-4602-849F-D2D469FDAEE2}" type="datetime1">
              <a:rPr lang="en-US"/>
              <a:pPr/>
              <a:t>1/29/2022</a:t>
            </a:fld>
            <a:endParaRPr lang="en-US" dirty="0"/>
          </a:p>
        </p:txBody>
      </p:sp>
      <p:sp>
        <p:nvSpPr>
          <p:cNvPr id="4" name="Footer Placeholder 3">
            <a:extLst>
              <a:ext uri="{FF2B5EF4-FFF2-40B4-BE49-F238E27FC236}">
                <a16:creationId xmlns:a16="http://schemas.microsoft.com/office/drawing/2014/main" id="{CEF21442-1C4F-42B0-B924-83BE44F48063}"/>
              </a:ext>
            </a:extLst>
          </p:cNvPr>
          <p:cNvSpPr>
            <a:spLocks noGrp="1"/>
          </p:cNvSpPr>
          <p:nvPr>
            <p:ph type="ftr" sz="quarter" idx="3"/>
          </p:nvPr>
        </p:nvSpPr>
        <p:spPr/>
        <p:txBody>
          <a:bodyPr/>
          <a:lstStyle>
            <a:lvl1pPr>
              <a:defRPr baseline="0">
                <a:latin typeface="+mn-lt"/>
                <a:cs typeface="+mn-cs"/>
              </a:defRPr>
            </a:lvl1p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0453C509-ACF3-4C73-862F-68788EB413D9}"/>
              </a:ext>
            </a:extLst>
          </p:cNvPr>
          <p:cNvSpPr>
            <a:spLocks noGrp="1"/>
          </p:cNvSpPr>
          <p:nvPr>
            <p:ph type="sldNum" sz="quarter" idx="4"/>
          </p:nvPr>
        </p:nvSpPr>
        <p:spPr/>
        <p:txBody>
          <a:bodyPr/>
          <a:lstStyle>
            <a:lvl1pPr>
              <a:defRPr baseline="0">
                <a:latin typeface="+mn-lt"/>
                <a:cs typeface="+mn-cs"/>
              </a:defRPr>
            </a:lvl1pPr>
          </a:lstStyle>
          <a:p>
            <a:fld id="{22FF84AA-2C76-4AF1-8502-73D25D47F37C}" type="slidenum">
              <a:rPr lang="en-US"/>
              <a:pPr/>
              <a:t>‹#›</a:t>
            </a:fld>
            <a:endParaRPr lang="en-US" dirty="0"/>
          </a:p>
        </p:txBody>
      </p:sp>
      <p:sp>
        <p:nvSpPr>
          <p:cNvPr id="6" name="Subtitle 1">
            <a:extLst>
              <a:ext uri="{FF2B5EF4-FFF2-40B4-BE49-F238E27FC236}">
                <a16:creationId xmlns:a16="http://schemas.microsoft.com/office/drawing/2014/main" id="{D026018D-5661-471D-895F-BBC309B00C2E}"/>
              </a:ext>
            </a:extLst>
          </p:cNvPr>
          <p:cNvSpPr>
            <a:spLocks noGrp="1"/>
          </p:cNvSpPr>
          <p:nvPr>
            <p:ph type="subTitle" sz="quarter" idx="1"/>
          </p:nvPr>
        </p:nvSpPr>
        <p:spPr>
          <a:xfrm>
            <a:off x="361200" y="707400"/>
            <a:ext cx="11468100" cy="290513"/>
          </a:xfrm>
        </p:spPr>
        <p:txBody>
          <a:bodyPr tIns="50800"/>
          <a:lstStyle>
            <a:lvl1pPr marL="0" indent="0">
              <a:lnSpc>
                <a:spcPct val="100000"/>
              </a:lnSpc>
              <a:spcBef>
                <a:spcPts val="0"/>
              </a:spcBef>
              <a:spcAft>
                <a:spcPts val="765"/>
              </a:spcAft>
              <a:buFontTx/>
              <a:buNone/>
              <a:defRPr baseline="0">
                <a:solidFill>
                  <a:schemeClr val="accent1"/>
                </a:solidFill>
                <a:latin typeface="+mn-lt"/>
                <a:cs typeface="+mn-cs"/>
              </a:defRPr>
            </a:lvl1pPr>
          </a:lstStyle>
          <a:p>
            <a:pPr lvl="0"/>
            <a:r>
              <a:rPr lang="en-US"/>
              <a:t>Click to edit Master subtitle style</a:t>
            </a:r>
            <a:endParaRPr lang="en-US" dirty="0"/>
          </a:p>
        </p:txBody>
      </p:sp>
      <p:sp>
        <p:nvSpPr>
          <p:cNvPr id="11" name="Content Placeholder 21">
            <a:extLst>
              <a:ext uri="{FF2B5EF4-FFF2-40B4-BE49-F238E27FC236}">
                <a16:creationId xmlns:a16="http://schemas.microsoft.com/office/drawing/2014/main" id="{608CC835-1104-432D-BC9D-53A11C3BF0EE}"/>
              </a:ext>
            </a:extLst>
          </p:cNvPr>
          <p:cNvSpPr>
            <a:spLocks noGrp="1"/>
          </p:cNvSpPr>
          <p:nvPr>
            <p:ph sz="quarter" idx="21"/>
          </p:nvPr>
        </p:nvSpPr>
        <p:spPr>
          <a:xfrm>
            <a:off x="361200" y="1387800"/>
            <a:ext cx="11468100" cy="4665663"/>
          </a:xfrm>
        </p:spPr>
        <p:txBody>
          <a:bodyPr/>
          <a:lstStyle>
            <a:lvl1pPr>
              <a:defRPr baseline="0">
                <a:latin typeface="+mn-lt"/>
                <a:cs typeface="+mn-cs"/>
              </a:defRPr>
            </a:lvl1pPr>
            <a:lvl2pPr>
              <a:defRPr baseline="0">
                <a:latin typeface="+mn-lt"/>
                <a:cs typeface="+mn-cs"/>
              </a:defRPr>
            </a:lvl2pPr>
            <a:lvl3pPr>
              <a:defRPr baseline="0">
                <a:latin typeface="+mn-lt"/>
                <a:cs typeface="+mn-cs"/>
              </a:defRPr>
            </a:lvl3pPr>
            <a:lvl4pPr>
              <a:defRPr baseline="0">
                <a:latin typeface="+mn-lt"/>
                <a:cs typeface="+mn-cs"/>
              </a:defRPr>
            </a:lvl4pPr>
            <a:lvl5pPr>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Layout Support" hidden="1">
            <a:extLst>
              <a:ext uri="{FF2B5EF4-FFF2-40B4-BE49-F238E27FC236}">
                <a16:creationId xmlns:a16="http://schemas.microsoft.com/office/drawing/2014/main" id="{FDBE381A-FCDB-45C9-9B26-4233FBCEEFB6}"/>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1010</a:t>
            </a:r>
          </a:p>
        </p:txBody>
      </p:sp>
    </p:spTree>
    <p:extLst>
      <p:ext uri="{BB962C8B-B14F-4D97-AF65-F5344CB8AC3E}">
        <p14:creationId xmlns:p14="http://schemas.microsoft.com/office/powerpoint/2010/main" val="3008004007"/>
      </p:ext>
    </p:extLst>
  </p:cSld>
  <p:clrMapOvr>
    <a:masterClrMapping/>
  </p:clrMapOvr>
  <p:hf hdr="0" dt="0"/>
  <p:extLst>
    <p:ext uri="{DCECCB84-F9BA-43D5-87BE-67443E8EF086}">
      <p15:sldGuideLst xmlns:p15="http://schemas.microsoft.com/office/powerpoint/2012/main">
        <p15:guide id="1" pos="228">
          <p15:clr>
            <a:srgbClr val="547EBF"/>
          </p15:clr>
        </p15:guide>
        <p15:guide id="2" orient="horz" pos="874">
          <p15:clr>
            <a:srgbClr val="547EBF"/>
          </p15:clr>
        </p15:guide>
        <p15:guide id="3" pos="7452">
          <p15:clr>
            <a:srgbClr val="547EBF"/>
          </p15:clr>
        </p15:guide>
        <p15:guide id="4" orient="horz" pos="3813">
          <p15:clr>
            <a:srgbClr val="547EBF"/>
          </p15:clr>
        </p15:guide>
        <p15:guide id="5" orient="horz" pos="3874">
          <p15:clr>
            <a:srgbClr val="547EBF"/>
          </p15:clr>
        </p15:guide>
        <p15:guide id="6" orient="horz" pos="3997">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Only"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8FDD9F-6AD6-4884-B2EF-ABE1CB67B929}"/>
              </a:ext>
            </a:extLst>
          </p:cNvPr>
          <p:cNvSpPr>
            <a:spLocks noGrp="1"/>
          </p:cNvSpPr>
          <p:nvPr>
            <p:ph type="title"/>
          </p:nvPr>
        </p:nvSpPr>
        <p:spPr/>
        <p:txBody>
          <a:bodyPr/>
          <a:lstStyle/>
          <a:p>
            <a:r>
              <a:rPr lang="en-US"/>
              <a:t>Click to edit Master title style</a:t>
            </a:r>
          </a:p>
        </p:txBody>
      </p:sp>
      <p:sp>
        <p:nvSpPr>
          <p:cNvPr id="6" name="Subtitle 1">
            <a:extLst>
              <a:ext uri="{FF2B5EF4-FFF2-40B4-BE49-F238E27FC236}">
                <a16:creationId xmlns:a16="http://schemas.microsoft.com/office/drawing/2014/main" id="{4E92736A-ACAD-4100-BE29-326CDD23DDBC}"/>
              </a:ext>
            </a:extLst>
          </p:cNvPr>
          <p:cNvSpPr>
            <a:spLocks noGrp="1"/>
          </p:cNvSpPr>
          <p:nvPr>
            <p:ph type="subTitle" sz="quarter" idx="1"/>
          </p:nvPr>
        </p:nvSpPr>
        <p:spPr>
          <a:xfrm>
            <a:off x="361199" y="707400"/>
            <a:ext cx="11468100" cy="290513"/>
          </a:xfrm>
        </p:spPr>
        <p:txBody>
          <a:bodyPr tIns="50800"/>
          <a:lstStyle>
            <a:lvl1pPr marL="0" indent="0">
              <a:lnSpc>
                <a:spcPct val="100000"/>
              </a:lnSpc>
              <a:spcBef>
                <a:spcPts val="0"/>
              </a:spcBef>
              <a:spcAft>
                <a:spcPts val="765"/>
              </a:spcAft>
              <a:buFontTx/>
              <a:buNone/>
              <a:defRPr baseline="0">
                <a:solidFill>
                  <a:schemeClr val="accent1"/>
                </a:solidFill>
                <a:latin typeface="+mn-lt"/>
                <a:cs typeface="+mn-cs"/>
              </a:defRPr>
            </a:lvl1pPr>
          </a:lstStyle>
          <a:p>
            <a:pPr lvl="0"/>
            <a:r>
              <a:rPr lang="en-US"/>
              <a:t>Click to edit Master subtitle style</a:t>
            </a:r>
            <a:endParaRPr lang="en-US" dirty="0"/>
          </a:p>
        </p:txBody>
      </p:sp>
      <p:sp>
        <p:nvSpPr>
          <p:cNvPr id="3" name="Date Placeholder 2">
            <a:extLst>
              <a:ext uri="{FF2B5EF4-FFF2-40B4-BE49-F238E27FC236}">
                <a16:creationId xmlns:a16="http://schemas.microsoft.com/office/drawing/2014/main" id="{123F42E8-7E8C-4DF3-9BFD-4A1DD0D774D2}"/>
              </a:ext>
            </a:extLst>
          </p:cNvPr>
          <p:cNvSpPr>
            <a:spLocks noGrp="1"/>
          </p:cNvSpPr>
          <p:nvPr>
            <p:ph type="dt" sz="half" idx="2"/>
          </p:nvPr>
        </p:nvSpPr>
        <p:spPr/>
        <p:txBody>
          <a:bodyPr/>
          <a:lstStyle>
            <a:lvl1pPr>
              <a:defRPr baseline="0">
                <a:latin typeface="+mn-lt"/>
                <a:cs typeface="+mn-cs"/>
              </a:defRPr>
            </a:lvl1pPr>
          </a:lstStyle>
          <a:p>
            <a:fld id="{04A728B0-2EE8-4602-849F-D2D469FDAEE2}" type="datetime1">
              <a:rPr lang="en-US"/>
              <a:pPr/>
              <a:t>1/29/2022</a:t>
            </a:fld>
            <a:endParaRPr lang="en-US" dirty="0"/>
          </a:p>
        </p:txBody>
      </p:sp>
      <p:sp>
        <p:nvSpPr>
          <p:cNvPr id="4" name="Footer Placeholder 3">
            <a:extLst>
              <a:ext uri="{FF2B5EF4-FFF2-40B4-BE49-F238E27FC236}">
                <a16:creationId xmlns:a16="http://schemas.microsoft.com/office/drawing/2014/main" id="{25C7DEFD-1ABE-4CE2-A3B3-85A9E0AB7A3A}"/>
              </a:ext>
            </a:extLst>
          </p:cNvPr>
          <p:cNvSpPr>
            <a:spLocks noGrp="1"/>
          </p:cNvSpPr>
          <p:nvPr>
            <p:ph type="ftr" sz="quarter" idx="3"/>
          </p:nvPr>
        </p:nvSpPr>
        <p:spPr/>
        <p:txBody>
          <a:bodyPr/>
          <a:lstStyle>
            <a:lvl1pPr>
              <a:defRPr baseline="0">
                <a:latin typeface="+mn-lt"/>
                <a:cs typeface="+mn-cs"/>
              </a:defRPr>
            </a:lvl1p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3C51223C-D612-49D5-B8C0-597477B82F16}"/>
              </a:ext>
            </a:extLst>
          </p:cNvPr>
          <p:cNvSpPr>
            <a:spLocks noGrp="1"/>
          </p:cNvSpPr>
          <p:nvPr>
            <p:ph type="sldNum" sz="quarter" idx="4"/>
          </p:nvPr>
        </p:nvSpPr>
        <p:spPr/>
        <p:txBody>
          <a:bodyPr/>
          <a:lstStyle>
            <a:lvl1pPr>
              <a:defRPr baseline="0">
                <a:latin typeface="+mn-lt"/>
                <a:cs typeface="+mn-cs"/>
              </a:defRPr>
            </a:lvl1pPr>
          </a:lstStyle>
          <a:p>
            <a:fld id="{22FF84AA-2C76-4AF1-8502-73D25D47F37C}" type="slidenum">
              <a:rPr lang="en-US"/>
              <a:pPr/>
              <a:t>‹#›</a:t>
            </a:fld>
            <a:endParaRPr lang="en-US" dirty="0"/>
          </a:p>
        </p:txBody>
      </p:sp>
      <p:sp>
        <p:nvSpPr>
          <p:cNvPr id="8" name="Layout Support" hidden="1">
            <a:extLst>
              <a:ext uri="{FF2B5EF4-FFF2-40B4-BE49-F238E27FC236}">
                <a16:creationId xmlns:a16="http://schemas.microsoft.com/office/drawing/2014/main" id="{22E761EC-ECDC-42A7-9C97-2EFC64ABD25D}"/>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1000</a:t>
            </a:r>
          </a:p>
        </p:txBody>
      </p:sp>
    </p:spTree>
    <p:extLst>
      <p:ext uri="{BB962C8B-B14F-4D97-AF65-F5344CB8AC3E}">
        <p14:creationId xmlns:p14="http://schemas.microsoft.com/office/powerpoint/2010/main" val="3087271878"/>
      </p:ext>
    </p:extLst>
  </p:cSld>
  <p:clrMapOvr>
    <a:masterClrMapping/>
  </p:clrMapOvr>
  <p:hf hdr="0" dt="0"/>
  <p:extLst>
    <p:ext uri="{DCECCB84-F9BA-43D5-87BE-67443E8EF086}">
      <p15:sldGuideLst xmlns:p15="http://schemas.microsoft.com/office/powerpoint/2012/main">
        <p15:guide id="1" pos="228">
          <p15:clr>
            <a:srgbClr val="547EBF"/>
          </p15:clr>
        </p15:guide>
        <p15:guide id="2" orient="horz" pos="874">
          <p15:clr>
            <a:srgbClr val="547EBF"/>
          </p15:clr>
        </p15:guide>
        <p15:guide id="3" pos="7452">
          <p15:clr>
            <a:srgbClr val="547EBF"/>
          </p15:clr>
        </p15:guide>
        <p15:guide id="4" orient="horz" pos="3813">
          <p15:clr>
            <a:srgbClr val="547EBF"/>
          </p15:clr>
        </p15:guide>
        <p15:guide id="5" orient="horz" pos="3997">
          <p15:clr>
            <a:srgbClr val="547EBF"/>
          </p15:clr>
        </p15:guide>
        <p15:guide id="6" orient="horz" pos="3874">
          <p15:clr>
            <a:srgbClr val="547EB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ion">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4C4A97BA-E398-4A90-AC04-44F38D59BD3D}"/>
              </a:ext>
            </a:extLst>
          </p:cNvPr>
          <p:cNvSpPr>
            <a:spLocks noGrp="1"/>
          </p:cNvSpPr>
          <p:nvPr>
            <p:ph type="title"/>
          </p:nvPr>
        </p:nvSpPr>
        <p:spPr>
          <a:xfrm>
            <a:off x="361200" y="221400"/>
            <a:ext cx="11468100" cy="486625"/>
          </a:xfrm>
        </p:spPr>
        <p:txBody>
          <a:bodyPr/>
          <a:lstStyle>
            <a:lvl1pPr>
              <a:defRPr baseline="0"/>
            </a:lvl1pPr>
          </a:lstStyle>
          <a:p>
            <a:r>
              <a:rPr lang="en-US"/>
              <a:t>Click to edit Master title style</a:t>
            </a:r>
            <a:endParaRPr lang="en-US" dirty="0"/>
          </a:p>
        </p:txBody>
      </p:sp>
      <p:sp>
        <p:nvSpPr>
          <p:cNvPr id="2" name="Subtitle 1">
            <a:extLst>
              <a:ext uri="{FF2B5EF4-FFF2-40B4-BE49-F238E27FC236}">
                <a16:creationId xmlns:a16="http://schemas.microsoft.com/office/drawing/2014/main" id="{C36C25D8-ABBB-44DB-B2D5-58DF6B78A784}"/>
              </a:ext>
            </a:extLst>
          </p:cNvPr>
          <p:cNvSpPr>
            <a:spLocks noGrp="1"/>
          </p:cNvSpPr>
          <p:nvPr>
            <p:ph type="subTitle" sz="quarter" idx="1"/>
          </p:nvPr>
        </p:nvSpPr>
        <p:spPr>
          <a:xfrm>
            <a:off x="361200" y="707400"/>
            <a:ext cx="11468100" cy="290513"/>
          </a:xfrm>
        </p:spPr>
        <p:txBody>
          <a:bodyPr tIns="50800"/>
          <a:lstStyle>
            <a:lvl1pPr marL="0" indent="0">
              <a:lnSpc>
                <a:spcPct val="100000"/>
              </a:lnSpc>
              <a:spcBef>
                <a:spcPts val="0"/>
              </a:spcBef>
              <a:spcAft>
                <a:spcPts val="765"/>
              </a:spcAft>
              <a:buFontTx/>
              <a:buNone/>
              <a:defRPr baseline="0">
                <a:solidFill>
                  <a:schemeClr val="accent1"/>
                </a:solidFill>
                <a:latin typeface="+mn-lt"/>
                <a:cs typeface="+mn-cs"/>
              </a:defRPr>
            </a:lvl1pPr>
          </a:lstStyle>
          <a:p>
            <a:pPr lvl="0"/>
            <a:r>
              <a:rPr lang="en-US"/>
              <a:t>Click to edit Master subtitle style</a:t>
            </a:r>
            <a:endParaRPr lang="en-US" dirty="0"/>
          </a:p>
        </p:txBody>
      </p:sp>
      <p:sp>
        <p:nvSpPr>
          <p:cNvPr id="8" name="Date Placeholder 8">
            <a:extLst>
              <a:ext uri="{FF2B5EF4-FFF2-40B4-BE49-F238E27FC236}">
                <a16:creationId xmlns:a16="http://schemas.microsoft.com/office/drawing/2014/main" id="{41983374-6A53-4E06-B0CA-20559F682FFC}"/>
              </a:ext>
            </a:extLst>
          </p:cNvPr>
          <p:cNvSpPr>
            <a:spLocks noGrp="1"/>
          </p:cNvSpPr>
          <p:nvPr>
            <p:ph type="dt" sz="half" idx="2"/>
          </p:nvPr>
        </p:nvSpPr>
        <p:spPr/>
        <p:txBody>
          <a:bodyPr anchor="t"/>
          <a:lstStyle>
            <a:lvl1pPr>
              <a:defRPr baseline="0">
                <a:latin typeface="+mn-lt"/>
                <a:cs typeface="+mn-cs"/>
              </a:defRPr>
            </a:lvl1pPr>
          </a:lstStyle>
          <a:p>
            <a:fld id="{91D32E29-F823-4652-9AE9-2D2F132296DA}" type="datetime1">
              <a:rPr lang="en-US"/>
              <a:pPr/>
              <a:t>1/29/2022</a:t>
            </a:fld>
            <a:endParaRPr lang="en-US" dirty="0"/>
          </a:p>
        </p:txBody>
      </p:sp>
      <p:sp>
        <p:nvSpPr>
          <p:cNvPr id="9" name="Footer Placeholder 9">
            <a:extLst>
              <a:ext uri="{FF2B5EF4-FFF2-40B4-BE49-F238E27FC236}">
                <a16:creationId xmlns:a16="http://schemas.microsoft.com/office/drawing/2014/main" id="{D6A8173E-BB5C-49BB-99D0-21E6CF68FFE5}"/>
              </a:ext>
            </a:extLst>
          </p:cNvPr>
          <p:cNvSpPr>
            <a:spLocks noGrp="1"/>
          </p:cNvSpPr>
          <p:nvPr>
            <p:ph type="ftr" sz="quarter" idx="3"/>
          </p:nvPr>
        </p:nvSpPr>
        <p:spPr/>
        <p:txBody>
          <a:bodyPr/>
          <a:lstStyle>
            <a:lvl1pPr>
              <a:defRPr baseline="0">
                <a:latin typeface="+mn-lt"/>
                <a:cs typeface="+mn-cs"/>
              </a:defRPr>
            </a:lvl1pPr>
          </a:lstStyle>
          <a:p>
            <a:r>
              <a:rPr lang="en-US"/>
              <a:t>© 2021 Software AG. All rights reserved. For internal use only and for Software AG Partners.</a:t>
            </a:r>
            <a:endParaRPr lang="en-US" dirty="0"/>
          </a:p>
        </p:txBody>
      </p:sp>
      <p:sp>
        <p:nvSpPr>
          <p:cNvPr id="10" name="Slide Number Placeholder 10">
            <a:extLst>
              <a:ext uri="{FF2B5EF4-FFF2-40B4-BE49-F238E27FC236}">
                <a16:creationId xmlns:a16="http://schemas.microsoft.com/office/drawing/2014/main" id="{7A84A96E-3CBF-494A-BA72-B024BEB268E2}"/>
              </a:ext>
            </a:extLst>
          </p:cNvPr>
          <p:cNvSpPr>
            <a:spLocks noGrp="1"/>
          </p:cNvSpPr>
          <p:nvPr>
            <p:ph type="sldNum" sz="quarter" idx="4"/>
          </p:nvPr>
        </p:nvSpPr>
        <p:spPr/>
        <p:txBody>
          <a:bodyPr/>
          <a:lstStyle>
            <a:lvl1pPr>
              <a:defRPr baseline="0">
                <a:latin typeface="+mn-lt"/>
                <a:cs typeface="+mn-cs"/>
              </a:defRPr>
            </a:lvl1pPr>
          </a:lstStyle>
          <a:p>
            <a:fld id="{22FF84AA-2C76-4AF1-8502-73D25D47F37C}" type="slidenum">
              <a:rPr lang="en-US"/>
              <a:pPr/>
              <a:t>‹#›</a:t>
            </a:fld>
            <a:endParaRPr lang="en-US" dirty="0"/>
          </a:p>
        </p:txBody>
      </p:sp>
      <p:sp>
        <p:nvSpPr>
          <p:cNvPr id="11" name="Text Placeholder 11">
            <a:extLst>
              <a:ext uri="{FF2B5EF4-FFF2-40B4-BE49-F238E27FC236}">
                <a16:creationId xmlns:a16="http://schemas.microsoft.com/office/drawing/2014/main" id="{223FB0B2-C602-4E64-898C-8A5C35D7A7EB}"/>
              </a:ext>
            </a:extLst>
          </p:cNvPr>
          <p:cNvSpPr>
            <a:spLocks noGrp="1"/>
          </p:cNvSpPr>
          <p:nvPr>
            <p:ph type="body" sz="quarter" idx="11"/>
          </p:nvPr>
        </p:nvSpPr>
        <p:spPr>
          <a:xfrm>
            <a:off x="361950" y="1387475"/>
            <a:ext cx="5637213" cy="777875"/>
          </a:xfrm>
          <a:solidFill>
            <a:schemeClr val="bg2"/>
          </a:solidFill>
        </p:spPr>
        <p:txBody>
          <a:bodyPr lIns="97200" tIns="97200" rIns="97200" bIns="97200"/>
          <a:lstStyle>
            <a:lvl1pPr algn="l">
              <a:lnSpc>
                <a:spcPct val="100000"/>
              </a:lnSpc>
              <a:defRPr sz="2000" b="1"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p:txBody>
      </p:sp>
      <p:sp>
        <p:nvSpPr>
          <p:cNvPr id="12" name="Text Placeholder 12">
            <a:extLst>
              <a:ext uri="{FF2B5EF4-FFF2-40B4-BE49-F238E27FC236}">
                <a16:creationId xmlns:a16="http://schemas.microsoft.com/office/drawing/2014/main" id="{0475DEDF-299E-4BFB-B57C-6C11B6D89FD8}"/>
              </a:ext>
            </a:extLst>
          </p:cNvPr>
          <p:cNvSpPr>
            <a:spLocks noGrp="1"/>
          </p:cNvSpPr>
          <p:nvPr>
            <p:ph type="body" sz="quarter" idx="12"/>
          </p:nvPr>
        </p:nvSpPr>
        <p:spPr>
          <a:xfrm>
            <a:off x="6192838" y="1387475"/>
            <a:ext cx="5637212" cy="777875"/>
          </a:xfrm>
          <a:solidFill>
            <a:schemeClr val="bg2"/>
          </a:solidFill>
        </p:spPr>
        <p:txBody>
          <a:bodyPr lIns="97200" tIns="97200" rIns="97200" bIns="97200"/>
          <a:lstStyle>
            <a:lvl1pPr algn="l">
              <a:defRPr lang="en-US" sz="2000" b="1" kern="1200" baseline="0" dirty="0">
                <a:solidFill>
                  <a:schemeClr val="tx1"/>
                </a:solidFill>
                <a:latin typeface="+mn-lt"/>
                <a:ea typeface="+mn-ea"/>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marL="0" lvl="0" indent="0" algn="l" defTabSz="972000" rtl="0" eaLnBrk="1" latinLnBrk="0" hangingPunct="1">
              <a:lnSpc>
                <a:spcPct val="100000"/>
              </a:lnSpc>
              <a:spcBef>
                <a:spcPts val="0"/>
              </a:spcBef>
              <a:spcAft>
                <a:spcPts val="765"/>
              </a:spcAft>
              <a:buFontTx/>
              <a:buNone/>
            </a:pPr>
            <a:r>
              <a:rPr lang="en-US"/>
              <a:t>Click to edit Master text styles</a:t>
            </a:r>
          </a:p>
        </p:txBody>
      </p:sp>
      <p:sp>
        <p:nvSpPr>
          <p:cNvPr id="21" name="Content Placeholder 21">
            <a:extLst>
              <a:ext uri="{FF2B5EF4-FFF2-40B4-BE49-F238E27FC236}">
                <a16:creationId xmlns:a16="http://schemas.microsoft.com/office/drawing/2014/main" id="{26551A99-EF1B-45EB-B385-09C7416E87A1}"/>
              </a:ext>
            </a:extLst>
          </p:cNvPr>
          <p:cNvSpPr>
            <a:spLocks noGrp="1"/>
          </p:cNvSpPr>
          <p:nvPr>
            <p:ph sz="quarter" idx="21"/>
          </p:nvPr>
        </p:nvSpPr>
        <p:spPr>
          <a:xfrm>
            <a:off x="361200" y="2359800"/>
            <a:ext cx="5637963" cy="3693338"/>
          </a:xfrm>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Content Placeholder 22">
            <a:extLst>
              <a:ext uri="{FF2B5EF4-FFF2-40B4-BE49-F238E27FC236}">
                <a16:creationId xmlns:a16="http://schemas.microsoft.com/office/drawing/2014/main" id="{A5A8B03D-8A5A-4C12-8FF4-6B91140BEAB3}"/>
              </a:ext>
            </a:extLst>
          </p:cNvPr>
          <p:cNvSpPr>
            <a:spLocks noGrp="1"/>
          </p:cNvSpPr>
          <p:nvPr>
            <p:ph sz="quarter" idx="22"/>
          </p:nvPr>
        </p:nvSpPr>
        <p:spPr>
          <a:xfrm>
            <a:off x="6193200" y="2359800"/>
            <a:ext cx="5636850" cy="3693338"/>
          </a:xfrm>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Layout Support" hidden="1">
            <a:extLst>
              <a:ext uri="{FF2B5EF4-FFF2-40B4-BE49-F238E27FC236}">
                <a16:creationId xmlns:a16="http://schemas.microsoft.com/office/drawing/2014/main" id="{DEF15377-3139-4822-B578-BBC3B9CC7E31}"/>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1220</a:t>
            </a:r>
          </a:p>
        </p:txBody>
      </p:sp>
    </p:spTree>
    <p:extLst>
      <p:ext uri="{BB962C8B-B14F-4D97-AF65-F5344CB8AC3E}">
        <p14:creationId xmlns:p14="http://schemas.microsoft.com/office/powerpoint/2010/main" val="668324204"/>
      </p:ext>
    </p:extLst>
  </p:cSld>
  <p:clrMapOvr>
    <a:masterClrMapping/>
  </p:clrMapOvr>
  <p:hf hdr="0" dt="0"/>
  <p:extLst>
    <p:ext uri="{DCECCB84-F9BA-43D5-87BE-67443E8EF086}">
      <p15:sldGuideLst xmlns:p15="http://schemas.microsoft.com/office/powerpoint/2012/main">
        <p15:guide id="1" orient="horz" pos="874" userDrawn="1">
          <p15:clr>
            <a:srgbClr val="547EBF"/>
          </p15:clr>
        </p15:guide>
        <p15:guide id="2" orient="horz" pos="1364" userDrawn="1">
          <p15:clr>
            <a:srgbClr val="547EBF"/>
          </p15:clr>
        </p15:guide>
        <p15:guide id="3" orient="horz" pos="1486" userDrawn="1">
          <p15:clr>
            <a:srgbClr val="547EBF"/>
          </p15:clr>
        </p15:guide>
        <p15:guide id="4" orient="horz" pos="3813" userDrawn="1">
          <p15:clr>
            <a:srgbClr val="547EBF"/>
          </p15:clr>
        </p15:guide>
        <p15:guide id="5" pos="228" userDrawn="1">
          <p15:clr>
            <a:srgbClr val="547EBF"/>
          </p15:clr>
        </p15:guide>
        <p15:guide id="6" pos="7452" userDrawn="1">
          <p15:clr>
            <a:srgbClr val="547EBF"/>
          </p15:clr>
        </p15:guide>
        <p15:guide id="7" pos="3779" userDrawn="1">
          <p15:clr>
            <a:srgbClr val="547EBF"/>
          </p15:clr>
        </p15:guide>
        <p15:guide id="8" pos="3901" userDrawn="1">
          <p15:clr>
            <a:srgbClr val="547EBF"/>
          </p15:clr>
        </p15:guide>
        <p15:guide id="9" orient="horz" pos="3874" userDrawn="1">
          <p15:clr>
            <a:srgbClr val="547EBF"/>
          </p15:clr>
        </p15:guide>
        <p15:guide id="10" orient="horz" pos="3997" userDrawn="1">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Pic over 3 Contents" preserve="1">
  <p:cSld name="Pic over 3 Contents">
    <p:spTree>
      <p:nvGrpSpPr>
        <p:cNvPr id="1" name=""/>
        <p:cNvGrpSpPr/>
        <p:nvPr/>
      </p:nvGrpSpPr>
      <p:grpSpPr>
        <a:xfrm>
          <a:off x="0" y="0"/>
          <a:ext cx="0" cy="0"/>
          <a:chOff x="0" y="0"/>
          <a:chExt cx="0" cy="0"/>
        </a:xfrm>
      </p:grpSpPr>
      <p:sp>
        <p:nvSpPr>
          <p:cNvPr id="6" name="Date Placeholder 5">
            <a:extLst>
              <a:ext uri="{FF2B5EF4-FFF2-40B4-BE49-F238E27FC236}">
                <a16:creationId xmlns:a16="http://schemas.microsoft.com/office/drawing/2014/main" id="{E33F9F82-086F-44A2-9FD3-F72B18687312}"/>
              </a:ext>
            </a:extLst>
          </p:cNvPr>
          <p:cNvSpPr>
            <a:spLocks noGrp="1"/>
          </p:cNvSpPr>
          <p:nvPr>
            <p:ph type="dt" sz="half" idx="2"/>
          </p:nvPr>
        </p:nvSpPr>
        <p:spPr/>
        <p:txBody>
          <a:bodyPr/>
          <a:lstStyle/>
          <a:p>
            <a:fld id="{04A728B0-2EE8-4602-849F-D2D469FDAEE2}" type="datetime1">
              <a:rPr lang="en-US"/>
              <a:t>1/29/2022</a:t>
            </a:fld>
            <a:endParaRPr lang="en-US" dirty="0"/>
          </a:p>
        </p:txBody>
      </p:sp>
      <p:sp>
        <p:nvSpPr>
          <p:cNvPr id="7" name="Footer Placeholder 6">
            <a:extLst>
              <a:ext uri="{FF2B5EF4-FFF2-40B4-BE49-F238E27FC236}">
                <a16:creationId xmlns:a16="http://schemas.microsoft.com/office/drawing/2014/main" id="{631F974B-CE10-440C-B8EA-263C3F40992E}"/>
              </a:ext>
            </a:extLst>
          </p:cNvPr>
          <p:cNvSpPr>
            <a:spLocks noGrp="1"/>
          </p:cNvSpPr>
          <p:nvPr>
            <p:ph type="ftr" sz="quarter" idx="3"/>
          </p:nvPr>
        </p:nvSpPr>
        <p:spPr/>
        <p:txBody>
          <a:bodyPr/>
          <a:lstStyle/>
          <a:p>
            <a:r>
              <a:rPr lang="en-US"/>
              <a:t>© 2021 Software AG. All rights reserved. For internal use only and for Software AG Partners.</a:t>
            </a:r>
            <a:endParaRPr lang="en-US" dirty="0"/>
          </a:p>
        </p:txBody>
      </p:sp>
      <p:sp>
        <p:nvSpPr>
          <p:cNvPr id="8" name="Slide Number Placeholder 7">
            <a:extLst>
              <a:ext uri="{FF2B5EF4-FFF2-40B4-BE49-F238E27FC236}">
                <a16:creationId xmlns:a16="http://schemas.microsoft.com/office/drawing/2014/main" id="{9956F1E6-B653-47A1-9AF0-8F5007B94544}"/>
              </a:ext>
            </a:extLst>
          </p:cNvPr>
          <p:cNvSpPr>
            <a:spLocks noGrp="1"/>
          </p:cNvSpPr>
          <p:nvPr>
            <p:ph type="sldNum" sz="quarter" idx="4"/>
          </p:nvPr>
        </p:nvSpPr>
        <p:spPr/>
        <p:txBody>
          <a:bodyPr/>
          <a:lstStyle/>
          <a:p>
            <a:fld id="{22FF84AA-2C76-4AF1-8502-73D25D47F37C}" type="slidenum">
              <a:rPr lang="en-US"/>
              <a:pPr/>
              <a:t>‹#›</a:t>
            </a:fld>
            <a:endParaRPr lang="en-US" dirty="0"/>
          </a:p>
        </p:txBody>
      </p:sp>
      <p:sp>
        <p:nvSpPr>
          <p:cNvPr id="9" name="Picture Placeholder 31">
            <a:extLst>
              <a:ext uri="{FF2B5EF4-FFF2-40B4-BE49-F238E27FC236}">
                <a16:creationId xmlns:a16="http://schemas.microsoft.com/office/drawing/2014/main" id="{2062DCCD-5D51-49E3-84D4-5FDB8504A1D4}"/>
              </a:ext>
            </a:extLst>
          </p:cNvPr>
          <p:cNvSpPr>
            <a:spLocks noGrp="1"/>
          </p:cNvSpPr>
          <p:nvPr>
            <p:ph type="pic" sz="quarter" idx="31"/>
          </p:nvPr>
        </p:nvSpPr>
        <p:spPr>
          <a:xfrm>
            <a:off x="0" y="1"/>
            <a:ext cx="12192000" cy="2942999"/>
          </a:xfrm>
          <a:pattFill prst="wdUpDiag">
            <a:fgClr>
              <a:schemeClr val="bg2"/>
            </a:fgClr>
            <a:bgClr>
              <a:schemeClr val="bg1"/>
            </a:bgClr>
          </a:pattFill>
        </p:spPr>
        <p:txBody>
          <a:bodyPr vert="horz" lIns="0" tIns="583200" rIns="0" bIns="0" rtlCol="0" anchor="ctr" anchorCtr="1">
            <a:noAutofit/>
          </a:bodyPr>
          <a:lstStyle>
            <a:lvl1pPr>
              <a:defRPr lang="en-US" dirty="0"/>
            </a:lvl1pPr>
          </a:lstStyle>
          <a:p>
            <a:pPr lvl="0"/>
            <a:r>
              <a:rPr lang="en-US"/>
              <a:t>Click icon to add picture</a:t>
            </a:r>
            <a:endParaRPr lang="en-US" dirty="0"/>
          </a:p>
        </p:txBody>
      </p:sp>
      <p:sp>
        <p:nvSpPr>
          <p:cNvPr id="16" name="Title">
            <a:extLst>
              <a:ext uri="{FF2B5EF4-FFF2-40B4-BE49-F238E27FC236}">
                <a16:creationId xmlns:a16="http://schemas.microsoft.com/office/drawing/2014/main" id="{C89B835D-0101-4970-91DD-E9CE4E5CC224}"/>
              </a:ext>
            </a:extLst>
          </p:cNvPr>
          <p:cNvSpPr>
            <a:spLocks noGrp="1"/>
          </p:cNvSpPr>
          <p:nvPr>
            <p:ph type="title"/>
          </p:nvPr>
        </p:nvSpPr>
        <p:spPr>
          <a:xfrm>
            <a:off x="1" y="405561"/>
            <a:ext cx="9886950" cy="885039"/>
          </a:xfrm>
          <a:solidFill>
            <a:schemeClr val="bg1"/>
          </a:solidFill>
        </p:spPr>
        <p:txBody>
          <a:bodyPr vert="horz" wrap="square" lIns="352800" tIns="194400" rIns="0" bIns="194400" rtlCol="0" anchor="t">
            <a:spAutoFit/>
          </a:bodyPr>
          <a:lstStyle>
            <a:lvl1pPr>
              <a:defRPr lang="en-US" sz="3200" baseline="0" dirty="0">
                <a:solidFill>
                  <a:schemeClr val="tx1"/>
                </a:solidFill>
              </a:defRPr>
            </a:lvl1pPr>
          </a:lstStyle>
          <a:p>
            <a:pPr lvl="0"/>
            <a:r>
              <a:rPr lang="en-US"/>
              <a:t>Click to edit Master title style</a:t>
            </a:r>
            <a:endParaRPr lang="en-US" dirty="0"/>
          </a:p>
        </p:txBody>
      </p:sp>
      <p:sp>
        <p:nvSpPr>
          <p:cNvPr id="17" name="Text Placeholder 11">
            <a:extLst>
              <a:ext uri="{FF2B5EF4-FFF2-40B4-BE49-F238E27FC236}">
                <a16:creationId xmlns:a16="http://schemas.microsoft.com/office/drawing/2014/main" id="{842EB164-85F4-4287-90BE-E0537A719E30}"/>
              </a:ext>
            </a:extLst>
          </p:cNvPr>
          <p:cNvSpPr>
            <a:spLocks noGrp="1"/>
          </p:cNvSpPr>
          <p:nvPr>
            <p:ph type="body" sz="quarter" idx="11"/>
          </p:nvPr>
        </p:nvSpPr>
        <p:spPr>
          <a:xfrm>
            <a:off x="361200" y="3331800"/>
            <a:ext cx="3693105" cy="778238"/>
          </a:xfrm>
          <a:solidFill>
            <a:schemeClr val="bg2"/>
          </a:solidFill>
        </p:spPr>
        <p:txBody>
          <a:bodyPr lIns="97200" tIns="97200" rIns="97200" bIns="97200"/>
          <a:lstStyle>
            <a:lvl1pPr algn="l">
              <a:lnSpc>
                <a:spcPct val="100000"/>
              </a:lnSpc>
              <a:defRPr sz="2000" b="1"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p:txBody>
      </p:sp>
      <p:sp>
        <p:nvSpPr>
          <p:cNvPr id="18" name="Text Placeholder 12">
            <a:extLst>
              <a:ext uri="{FF2B5EF4-FFF2-40B4-BE49-F238E27FC236}">
                <a16:creationId xmlns:a16="http://schemas.microsoft.com/office/drawing/2014/main" id="{CD271E3E-AABC-48D9-81E0-63CC4C763AD6}"/>
              </a:ext>
            </a:extLst>
          </p:cNvPr>
          <p:cNvSpPr>
            <a:spLocks noGrp="1"/>
          </p:cNvSpPr>
          <p:nvPr>
            <p:ph type="body" sz="quarter" idx="12"/>
          </p:nvPr>
        </p:nvSpPr>
        <p:spPr>
          <a:xfrm>
            <a:off x="4249200" y="3331800"/>
            <a:ext cx="3693428" cy="778238"/>
          </a:xfrm>
          <a:solidFill>
            <a:schemeClr val="bg2"/>
          </a:solidFill>
        </p:spPr>
        <p:txBody>
          <a:bodyPr lIns="97200" tIns="97200" rIns="97200" bIns="97200"/>
          <a:lstStyle>
            <a:lvl1pPr algn="l">
              <a:lnSpc>
                <a:spcPct val="100000"/>
              </a:lnSpc>
              <a:defRPr sz="2000" b="1"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p:txBody>
      </p:sp>
      <p:sp>
        <p:nvSpPr>
          <p:cNvPr id="19" name="Text Placeholder 13">
            <a:extLst>
              <a:ext uri="{FF2B5EF4-FFF2-40B4-BE49-F238E27FC236}">
                <a16:creationId xmlns:a16="http://schemas.microsoft.com/office/drawing/2014/main" id="{0DE6BBBA-49B5-48EB-9404-7BD1FF1DE86D}"/>
              </a:ext>
            </a:extLst>
          </p:cNvPr>
          <p:cNvSpPr>
            <a:spLocks noGrp="1"/>
          </p:cNvSpPr>
          <p:nvPr>
            <p:ph type="body" sz="quarter" idx="13"/>
          </p:nvPr>
        </p:nvSpPr>
        <p:spPr>
          <a:xfrm>
            <a:off x="8137200" y="3331800"/>
            <a:ext cx="3693750" cy="778238"/>
          </a:xfrm>
          <a:solidFill>
            <a:schemeClr val="bg2"/>
          </a:solidFill>
        </p:spPr>
        <p:txBody>
          <a:bodyPr lIns="97200" tIns="97200" rIns="97200" bIns="97200"/>
          <a:lstStyle>
            <a:lvl1pPr algn="l">
              <a:lnSpc>
                <a:spcPct val="100000"/>
              </a:lnSpc>
              <a:defRPr sz="2000" b="1"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p:txBody>
      </p:sp>
      <p:sp>
        <p:nvSpPr>
          <p:cNvPr id="20" name="Content Placeholder 21">
            <a:extLst>
              <a:ext uri="{FF2B5EF4-FFF2-40B4-BE49-F238E27FC236}">
                <a16:creationId xmlns:a16="http://schemas.microsoft.com/office/drawing/2014/main" id="{3FB9EFE6-6BAF-476B-BC4D-88DF735D11F2}"/>
              </a:ext>
            </a:extLst>
          </p:cNvPr>
          <p:cNvSpPr>
            <a:spLocks noGrp="1"/>
          </p:cNvSpPr>
          <p:nvPr>
            <p:ph sz="quarter" idx="21"/>
          </p:nvPr>
        </p:nvSpPr>
        <p:spPr>
          <a:xfrm>
            <a:off x="361200" y="4303801"/>
            <a:ext cx="3693105" cy="1749338"/>
          </a:xfrm>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p:txBody>
      </p:sp>
      <p:sp>
        <p:nvSpPr>
          <p:cNvPr id="21" name="Content Placeholder 22">
            <a:extLst>
              <a:ext uri="{FF2B5EF4-FFF2-40B4-BE49-F238E27FC236}">
                <a16:creationId xmlns:a16="http://schemas.microsoft.com/office/drawing/2014/main" id="{78609856-B6FD-43AB-B8C2-C27409CCB069}"/>
              </a:ext>
            </a:extLst>
          </p:cNvPr>
          <p:cNvSpPr>
            <a:spLocks noGrp="1"/>
          </p:cNvSpPr>
          <p:nvPr>
            <p:ph sz="quarter" idx="22"/>
          </p:nvPr>
        </p:nvSpPr>
        <p:spPr>
          <a:xfrm>
            <a:off x="4249200" y="4303800"/>
            <a:ext cx="3693428" cy="1749338"/>
          </a:xfrm>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p:txBody>
      </p:sp>
      <p:sp>
        <p:nvSpPr>
          <p:cNvPr id="22" name="Content Placeholder 23">
            <a:extLst>
              <a:ext uri="{FF2B5EF4-FFF2-40B4-BE49-F238E27FC236}">
                <a16:creationId xmlns:a16="http://schemas.microsoft.com/office/drawing/2014/main" id="{E24B5742-55D1-4393-9548-398B8254E6EC}"/>
              </a:ext>
            </a:extLst>
          </p:cNvPr>
          <p:cNvSpPr>
            <a:spLocks noGrp="1"/>
          </p:cNvSpPr>
          <p:nvPr>
            <p:ph sz="quarter" idx="23"/>
          </p:nvPr>
        </p:nvSpPr>
        <p:spPr>
          <a:xfrm>
            <a:off x="8137200" y="4303800"/>
            <a:ext cx="3693750" cy="1749338"/>
          </a:xfrm>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p:txBody>
      </p:sp>
      <p:sp>
        <p:nvSpPr>
          <p:cNvPr id="14" name="Layout Support" hidden="1">
            <a:extLst>
              <a:ext uri="{FF2B5EF4-FFF2-40B4-BE49-F238E27FC236}">
                <a16:creationId xmlns:a16="http://schemas.microsoft.com/office/drawing/2014/main" id="{531BFAB3-04A2-4880-AA78-F65A6ABFFDBA}"/>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0331</a:t>
            </a:r>
          </a:p>
        </p:txBody>
      </p:sp>
    </p:spTree>
    <p:extLst>
      <p:ext uri="{BB962C8B-B14F-4D97-AF65-F5344CB8AC3E}">
        <p14:creationId xmlns:p14="http://schemas.microsoft.com/office/powerpoint/2010/main" val="4267721920"/>
      </p:ext>
    </p:extLst>
  </p:cSld>
  <p:clrMapOvr>
    <a:masterClrMapping/>
  </p:clrMapOvr>
  <p:hf hdr="0" dt="0"/>
  <p:extLst>
    <p:ext uri="{DCECCB84-F9BA-43D5-87BE-67443E8EF086}">
      <p15:sldGuideLst xmlns:p15="http://schemas.microsoft.com/office/powerpoint/2012/main">
        <p15:guide id="1" pos="5003" userDrawn="1">
          <p15:clr>
            <a:srgbClr val="547EBF"/>
          </p15:clr>
        </p15:guide>
        <p15:guide id="2" orient="horz" pos="262" userDrawn="1">
          <p15:clr>
            <a:srgbClr val="547EBF"/>
          </p15:clr>
        </p15:guide>
        <p15:guide id="3" orient="horz" pos="813" userDrawn="1">
          <p15:clr>
            <a:srgbClr val="547EBF"/>
          </p15:clr>
        </p15:guide>
        <p15:guide id="4" orient="horz" pos="1854" userDrawn="1">
          <p15:clr>
            <a:srgbClr val="547EBF"/>
          </p15:clr>
        </p15:guide>
        <p15:guide id="5" orient="horz" pos="2099" userDrawn="1">
          <p15:clr>
            <a:srgbClr val="547EBF"/>
          </p15:clr>
        </p15:guide>
        <p15:guide id="6" orient="horz" pos="2589" userDrawn="1">
          <p15:clr>
            <a:srgbClr val="547EBF"/>
          </p15:clr>
        </p15:guide>
        <p15:guide id="7" orient="horz" pos="2711" userDrawn="1">
          <p15:clr>
            <a:srgbClr val="547EBF"/>
          </p15:clr>
        </p15:guide>
        <p15:guide id="8" orient="horz" pos="3813" userDrawn="1">
          <p15:clr>
            <a:srgbClr val="547EBF"/>
          </p15:clr>
        </p15:guide>
        <p15:guide id="9" orient="horz" pos="3874" userDrawn="1">
          <p15:clr>
            <a:srgbClr val="547EBF"/>
          </p15:clr>
        </p15:guide>
        <p15:guide id="10" orient="horz" pos="3997" userDrawn="1">
          <p15:clr>
            <a:srgbClr val="547EBF"/>
          </p15:clr>
        </p15:guide>
        <p15:guide id="11" pos="228" userDrawn="1">
          <p15:clr>
            <a:srgbClr val="547EBF"/>
          </p15:clr>
        </p15:guide>
        <p15:guide id="12" pos="2554" userDrawn="1">
          <p15:clr>
            <a:srgbClr val="547EBF"/>
          </p15:clr>
        </p15:guide>
        <p15:guide id="13" pos="2677" userDrawn="1">
          <p15:clr>
            <a:srgbClr val="547EBF"/>
          </p15:clr>
        </p15:guide>
        <p15:guide id="14" pos="5126" userDrawn="1">
          <p15:clr>
            <a:srgbClr val="547EBF"/>
          </p15:clr>
        </p15:guide>
        <p15:guide id="15" pos="7452" userDrawn="1">
          <p15:clr>
            <a:srgbClr val="547EB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Title and 4 Contents" type="fourObj" preserve="1">
  <p:cSld name="Title and 4 Content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A051041-408A-4720-86ED-4C300F8D0E26}"/>
              </a:ext>
            </a:extLst>
          </p:cNvPr>
          <p:cNvSpPr>
            <a:spLocks noGrp="1"/>
          </p:cNvSpPr>
          <p:nvPr>
            <p:ph type="dt" sz="half" idx="2"/>
          </p:nvPr>
        </p:nvSpPr>
        <p:spPr/>
        <p:txBody>
          <a:bodyPr/>
          <a:lstStyle>
            <a:lvl1pPr>
              <a:defRPr baseline="0">
                <a:latin typeface="+mn-lt"/>
                <a:cs typeface="+mn-cs"/>
              </a:defRPr>
            </a:lvl1pPr>
          </a:lstStyle>
          <a:p>
            <a:fld id="{04A728B0-2EE8-4602-849F-D2D469FDAEE2}" type="datetime1">
              <a:rPr lang="en-US"/>
              <a:pPr/>
              <a:t>1/29/2022</a:t>
            </a:fld>
            <a:endParaRPr lang="en-US" dirty="0"/>
          </a:p>
        </p:txBody>
      </p:sp>
      <p:sp>
        <p:nvSpPr>
          <p:cNvPr id="4" name="Footer Placeholder 3">
            <a:extLst>
              <a:ext uri="{FF2B5EF4-FFF2-40B4-BE49-F238E27FC236}">
                <a16:creationId xmlns:a16="http://schemas.microsoft.com/office/drawing/2014/main" id="{706BC89B-DEAE-4ACD-90D0-819C44DDF752}"/>
              </a:ext>
            </a:extLst>
          </p:cNvPr>
          <p:cNvSpPr>
            <a:spLocks noGrp="1"/>
          </p:cNvSpPr>
          <p:nvPr>
            <p:ph type="ftr" sz="quarter" idx="3"/>
          </p:nvPr>
        </p:nvSpPr>
        <p:spPr/>
        <p:txBody>
          <a:bodyPr/>
          <a:lstStyle>
            <a:lvl1pPr>
              <a:defRPr baseline="0">
                <a:latin typeface="+mn-lt"/>
                <a:cs typeface="+mn-cs"/>
              </a:defRPr>
            </a:lvl1p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4F222638-5831-4F76-BA71-6C704AB9413C}"/>
              </a:ext>
            </a:extLst>
          </p:cNvPr>
          <p:cNvSpPr>
            <a:spLocks noGrp="1"/>
          </p:cNvSpPr>
          <p:nvPr>
            <p:ph type="sldNum" sz="quarter" idx="4"/>
          </p:nvPr>
        </p:nvSpPr>
        <p:spPr/>
        <p:txBody>
          <a:bodyPr/>
          <a:lstStyle>
            <a:lvl1pPr>
              <a:defRPr baseline="0">
                <a:latin typeface="+mn-lt"/>
                <a:cs typeface="+mn-cs"/>
              </a:defRPr>
            </a:lvl1pPr>
          </a:lstStyle>
          <a:p>
            <a:fld id="{22FF84AA-2C76-4AF1-8502-73D25D47F37C}" type="slidenum">
              <a:rPr lang="en-US"/>
              <a:pPr/>
              <a:t>‹#›</a:t>
            </a:fld>
            <a:endParaRPr lang="en-US" dirty="0"/>
          </a:p>
        </p:txBody>
      </p:sp>
      <p:sp>
        <p:nvSpPr>
          <p:cNvPr id="2" name="Title 1">
            <a:extLst>
              <a:ext uri="{FF2B5EF4-FFF2-40B4-BE49-F238E27FC236}">
                <a16:creationId xmlns:a16="http://schemas.microsoft.com/office/drawing/2014/main" id="{EC74E48E-6BD5-425B-9ED9-67DFE97CCE86}"/>
              </a:ext>
            </a:extLst>
          </p:cNvPr>
          <p:cNvSpPr>
            <a:spLocks noGrp="1"/>
          </p:cNvSpPr>
          <p:nvPr>
            <p:ph type="title"/>
          </p:nvPr>
        </p:nvSpPr>
        <p:spPr>
          <a:xfrm>
            <a:off x="361199" y="221400"/>
            <a:ext cx="11468100" cy="486625"/>
          </a:xfrm>
        </p:spPr>
        <p:txBody>
          <a:bodyPr/>
          <a:lstStyle>
            <a:lvl1pPr>
              <a:defRPr baseline="0"/>
            </a:lvl1pPr>
          </a:lstStyle>
          <a:p>
            <a:r>
              <a:rPr lang="en-US"/>
              <a:t>Click to edit Master title style</a:t>
            </a:r>
            <a:endParaRPr lang="en-US" dirty="0"/>
          </a:p>
        </p:txBody>
      </p:sp>
      <p:sp>
        <p:nvSpPr>
          <p:cNvPr id="6" name="Subtitle 1">
            <a:extLst>
              <a:ext uri="{FF2B5EF4-FFF2-40B4-BE49-F238E27FC236}">
                <a16:creationId xmlns:a16="http://schemas.microsoft.com/office/drawing/2014/main" id="{B168A5C8-131A-44E3-B496-8C639011868E}"/>
              </a:ext>
            </a:extLst>
          </p:cNvPr>
          <p:cNvSpPr>
            <a:spLocks noGrp="1"/>
          </p:cNvSpPr>
          <p:nvPr>
            <p:ph type="subTitle" sz="quarter" idx="1"/>
          </p:nvPr>
        </p:nvSpPr>
        <p:spPr>
          <a:xfrm>
            <a:off x="361199" y="707400"/>
            <a:ext cx="11468100" cy="290513"/>
          </a:xfrm>
          <a:solidFill>
            <a:schemeClr val="bg1"/>
          </a:solidFill>
        </p:spPr>
        <p:txBody>
          <a:bodyPr tIns="50800"/>
          <a:lstStyle>
            <a:lvl1pPr marL="0" indent="0">
              <a:lnSpc>
                <a:spcPct val="100000"/>
              </a:lnSpc>
              <a:spcBef>
                <a:spcPts val="0"/>
              </a:spcBef>
              <a:spcAft>
                <a:spcPts val="765"/>
              </a:spcAft>
              <a:buFontTx/>
              <a:buNone/>
              <a:defRPr baseline="0">
                <a:solidFill>
                  <a:schemeClr val="accent1"/>
                </a:solidFill>
                <a:latin typeface="+mn-lt"/>
                <a:cs typeface="+mn-cs"/>
              </a:defRPr>
            </a:lvl1pPr>
          </a:lstStyle>
          <a:p>
            <a:pPr lvl="0"/>
            <a:r>
              <a:rPr lang="en-US"/>
              <a:t>Click to edit Master subtitle style</a:t>
            </a:r>
            <a:endParaRPr lang="en-US" dirty="0"/>
          </a:p>
        </p:txBody>
      </p:sp>
      <p:sp>
        <p:nvSpPr>
          <p:cNvPr id="7" name="Content Placeholder 21">
            <a:extLst>
              <a:ext uri="{FF2B5EF4-FFF2-40B4-BE49-F238E27FC236}">
                <a16:creationId xmlns:a16="http://schemas.microsoft.com/office/drawing/2014/main" id="{BB36D1AC-D4C0-4039-BEAE-E34C4439A623}"/>
              </a:ext>
            </a:extLst>
          </p:cNvPr>
          <p:cNvSpPr>
            <a:spLocks noGrp="1"/>
          </p:cNvSpPr>
          <p:nvPr>
            <p:ph sz="quarter" idx="21"/>
          </p:nvPr>
        </p:nvSpPr>
        <p:spPr>
          <a:xfrm>
            <a:off x="361950" y="1387475"/>
            <a:ext cx="2720975" cy="4665663"/>
          </a:xfrm>
          <a:solidFill>
            <a:schemeClr val="bg1"/>
          </a:solidFill>
        </p:spPr>
        <p:txBody>
          <a:bodyPr/>
          <a:lstStyle>
            <a:lvl1pPr>
              <a:defRPr baseline="0">
                <a:latin typeface="+mn-lt"/>
                <a:cs typeface="+mn-cs"/>
              </a:defRPr>
            </a:lvl1pPr>
            <a:lvl2pPr>
              <a:defRPr baseline="0">
                <a:latin typeface="+mn-lt"/>
                <a:cs typeface="+mn-cs"/>
              </a:defRPr>
            </a:lvl2pPr>
            <a:lvl3pPr>
              <a:defRPr baseline="0">
                <a:latin typeface="+mn-lt"/>
                <a:cs typeface="+mn-cs"/>
              </a:defRPr>
            </a:lvl3pPr>
            <a:lvl4pPr>
              <a:defRPr baseline="0">
                <a:latin typeface="+mn-lt"/>
                <a:cs typeface="+mn-cs"/>
              </a:defRPr>
            </a:lvl4pPr>
            <a:lvl5pPr>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22">
            <a:extLst>
              <a:ext uri="{FF2B5EF4-FFF2-40B4-BE49-F238E27FC236}">
                <a16:creationId xmlns:a16="http://schemas.microsoft.com/office/drawing/2014/main" id="{AEB49F1F-DBD5-49A5-BD74-D6512FB44E52}"/>
              </a:ext>
            </a:extLst>
          </p:cNvPr>
          <p:cNvSpPr>
            <a:spLocks noGrp="1"/>
          </p:cNvSpPr>
          <p:nvPr>
            <p:ph sz="quarter" idx="22"/>
          </p:nvPr>
        </p:nvSpPr>
        <p:spPr>
          <a:xfrm>
            <a:off x="3277200" y="1387476"/>
            <a:ext cx="2721963" cy="4665662"/>
          </a:xfrm>
          <a:solidFill>
            <a:schemeClr val="bg1"/>
          </a:solidFill>
        </p:spPr>
        <p:txBody>
          <a:bodyPr/>
          <a:lstStyle>
            <a:lvl1pPr>
              <a:defRPr baseline="0">
                <a:latin typeface="+mn-lt"/>
                <a:cs typeface="+mn-cs"/>
              </a:defRPr>
            </a:lvl1pPr>
            <a:lvl2pPr>
              <a:defRPr baseline="0">
                <a:latin typeface="+mn-lt"/>
                <a:cs typeface="+mn-cs"/>
              </a:defRPr>
            </a:lvl2pPr>
            <a:lvl3pPr>
              <a:defRPr baseline="0">
                <a:latin typeface="+mn-lt"/>
                <a:cs typeface="+mn-cs"/>
              </a:defRPr>
            </a:lvl3pPr>
            <a:lvl4pPr>
              <a:defRPr baseline="0">
                <a:latin typeface="+mn-lt"/>
                <a:cs typeface="+mn-cs"/>
              </a:defRPr>
            </a:lvl4pPr>
            <a:lvl5pPr>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23">
            <a:extLst>
              <a:ext uri="{FF2B5EF4-FFF2-40B4-BE49-F238E27FC236}">
                <a16:creationId xmlns:a16="http://schemas.microsoft.com/office/drawing/2014/main" id="{BFAF7E19-22E8-4D1A-AF8E-814B475E3879}"/>
              </a:ext>
            </a:extLst>
          </p:cNvPr>
          <p:cNvSpPr>
            <a:spLocks noGrp="1"/>
          </p:cNvSpPr>
          <p:nvPr>
            <p:ph sz="quarter" idx="23"/>
          </p:nvPr>
        </p:nvSpPr>
        <p:spPr>
          <a:xfrm>
            <a:off x="6192838" y="1387475"/>
            <a:ext cx="2722562" cy="4665663"/>
          </a:xfrm>
          <a:solidFill>
            <a:schemeClr val="bg1"/>
          </a:solidFill>
        </p:spPr>
        <p:txBody>
          <a:bodyPr/>
          <a:lstStyle>
            <a:lvl1pPr>
              <a:defRPr baseline="0">
                <a:latin typeface="+mn-lt"/>
                <a:cs typeface="+mn-cs"/>
              </a:defRPr>
            </a:lvl1pPr>
            <a:lvl2pPr>
              <a:defRPr baseline="0">
                <a:latin typeface="+mn-lt"/>
                <a:cs typeface="+mn-cs"/>
              </a:defRPr>
            </a:lvl2pPr>
            <a:lvl3pPr>
              <a:defRPr baseline="0">
                <a:latin typeface="+mn-lt"/>
                <a:cs typeface="+mn-cs"/>
              </a:defRPr>
            </a:lvl3pPr>
            <a:lvl4pPr>
              <a:defRPr baseline="0">
                <a:latin typeface="+mn-lt"/>
                <a:cs typeface="+mn-cs"/>
              </a:defRPr>
            </a:lvl4pPr>
            <a:lvl5pPr>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4">
            <a:extLst>
              <a:ext uri="{FF2B5EF4-FFF2-40B4-BE49-F238E27FC236}">
                <a16:creationId xmlns:a16="http://schemas.microsoft.com/office/drawing/2014/main" id="{A3A794B3-A0DA-437C-9F17-6497D9750883}"/>
              </a:ext>
            </a:extLst>
          </p:cNvPr>
          <p:cNvSpPr>
            <a:spLocks noGrp="1"/>
          </p:cNvSpPr>
          <p:nvPr>
            <p:ph sz="quarter" idx="24"/>
          </p:nvPr>
        </p:nvSpPr>
        <p:spPr>
          <a:xfrm>
            <a:off x="9109074" y="1387476"/>
            <a:ext cx="2720975" cy="4665662"/>
          </a:xfrm>
          <a:solidFill>
            <a:schemeClr val="bg1"/>
          </a:solidFill>
        </p:spPr>
        <p:txBody>
          <a:bodyPr/>
          <a:lstStyle>
            <a:lvl1pPr>
              <a:defRPr baseline="0">
                <a:latin typeface="+mn-lt"/>
                <a:cs typeface="+mn-cs"/>
              </a:defRPr>
            </a:lvl1pPr>
            <a:lvl2pPr>
              <a:defRPr baseline="0">
                <a:latin typeface="+mn-lt"/>
                <a:cs typeface="+mn-cs"/>
              </a:defRPr>
            </a:lvl2pPr>
            <a:lvl3pPr>
              <a:defRPr baseline="0">
                <a:latin typeface="+mn-lt"/>
                <a:cs typeface="+mn-cs"/>
              </a:defRPr>
            </a:lvl3pPr>
            <a:lvl4pPr>
              <a:defRPr baseline="0">
                <a:latin typeface="+mn-lt"/>
                <a:cs typeface="+mn-cs"/>
              </a:defRPr>
            </a:lvl4pPr>
            <a:lvl5pPr>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Layout Support" hidden="1">
            <a:extLst>
              <a:ext uri="{FF2B5EF4-FFF2-40B4-BE49-F238E27FC236}">
                <a16:creationId xmlns:a16="http://schemas.microsoft.com/office/drawing/2014/main" id="{FFC9C264-FF86-4BC3-884D-18C00430EC43}"/>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1040</a:t>
            </a:r>
          </a:p>
        </p:txBody>
      </p:sp>
    </p:spTree>
    <p:extLst>
      <p:ext uri="{BB962C8B-B14F-4D97-AF65-F5344CB8AC3E}">
        <p14:creationId xmlns:p14="http://schemas.microsoft.com/office/powerpoint/2010/main" val="3956770126"/>
      </p:ext>
    </p:extLst>
  </p:cSld>
  <p:clrMapOvr>
    <a:masterClrMapping/>
  </p:clrMapOvr>
  <p:hf hdr="0" dt="0"/>
  <p:extLst>
    <p:ext uri="{DCECCB84-F9BA-43D5-87BE-67443E8EF086}">
      <p15:sldGuideLst xmlns:p15="http://schemas.microsoft.com/office/powerpoint/2012/main">
        <p15:guide id="1" pos="228" userDrawn="1">
          <p15:clr>
            <a:srgbClr val="547EBF"/>
          </p15:clr>
        </p15:guide>
        <p15:guide id="2" orient="horz" pos="3813" userDrawn="1">
          <p15:clr>
            <a:srgbClr val="547EBF"/>
          </p15:clr>
        </p15:guide>
        <p15:guide id="3" pos="1942" userDrawn="1">
          <p15:clr>
            <a:srgbClr val="547EBF"/>
          </p15:clr>
        </p15:guide>
        <p15:guide id="4" pos="2064" userDrawn="1">
          <p15:clr>
            <a:srgbClr val="547EBF"/>
          </p15:clr>
        </p15:guide>
        <p15:guide id="5" pos="3779" userDrawn="1">
          <p15:clr>
            <a:srgbClr val="547EBF"/>
          </p15:clr>
        </p15:guide>
        <p15:guide id="6" pos="3901" userDrawn="1">
          <p15:clr>
            <a:srgbClr val="547EBF"/>
          </p15:clr>
        </p15:guide>
        <p15:guide id="7" pos="5738" userDrawn="1">
          <p15:clr>
            <a:srgbClr val="547EBF"/>
          </p15:clr>
        </p15:guide>
        <p15:guide id="8" pos="5616" userDrawn="1">
          <p15:clr>
            <a:srgbClr val="547EBF"/>
          </p15:clr>
        </p15:guide>
        <p15:guide id="9" pos="7452" userDrawn="1">
          <p15:clr>
            <a:srgbClr val="547EBF"/>
          </p15:clr>
        </p15:guide>
        <p15:guide id="10" orient="horz" pos="139" userDrawn="1">
          <p15:clr>
            <a:srgbClr val="547EBF"/>
          </p15:clr>
        </p15:guide>
        <p15:guide id="11" orient="horz" pos="446" userDrawn="1">
          <p15:clr>
            <a:srgbClr val="547EBF"/>
          </p15:clr>
        </p15:guide>
        <p15:guide id="12" orient="horz" pos="629" userDrawn="1">
          <p15:clr>
            <a:srgbClr val="547EBF"/>
          </p15:clr>
        </p15:guide>
        <p15:guide id="13" orient="horz" pos="874" userDrawn="1">
          <p15:clr>
            <a:srgbClr val="547EBF"/>
          </p15:clr>
        </p15:guide>
        <p15:guide id="14" orient="horz" pos="3874" userDrawn="1">
          <p15:clr>
            <a:srgbClr val="547EBF"/>
          </p15:clr>
        </p15:guide>
        <p15:guide id="15" orient="horz" pos="3997" userDrawn="1">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2 Contents over Text" preserve="1">
  <p:cSld name="2 Contents over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A7C6FAA-0769-44A2-8467-FCEE08AA1D3A}"/>
              </a:ext>
            </a:extLst>
          </p:cNvPr>
          <p:cNvSpPr/>
          <p:nvPr userDrawn="1"/>
        </p:nvSpPr>
        <p:spPr>
          <a:xfrm>
            <a:off x="361200" y="1387800"/>
            <a:ext cx="5637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14" name="Rectangle 13">
            <a:extLst>
              <a:ext uri="{FF2B5EF4-FFF2-40B4-BE49-F238E27FC236}">
                <a16:creationId xmlns:a16="http://schemas.microsoft.com/office/drawing/2014/main" id="{592AC7B4-943A-419A-BBCF-A922063FB3CD}"/>
              </a:ext>
            </a:extLst>
          </p:cNvPr>
          <p:cNvSpPr/>
          <p:nvPr userDrawn="1"/>
        </p:nvSpPr>
        <p:spPr>
          <a:xfrm>
            <a:off x="6193200" y="1387800"/>
            <a:ext cx="5637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8" name="Date Placeholder 8">
            <a:extLst>
              <a:ext uri="{FF2B5EF4-FFF2-40B4-BE49-F238E27FC236}">
                <a16:creationId xmlns:a16="http://schemas.microsoft.com/office/drawing/2014/main" id="{41983374-6A53-4E06-B0CA-20559F682FFC}"/>
              </a:ext>
            </a:extLst>
          </p:cNvPr>
          <p:cNvSpPr>
            <a:spLocks noGrp="1"/>
          </p:cNvSpPr>
          <p:nvPr>
            <p:ph type="dt" sz="half" idx="2"/>
          </p:nvPr>
        </p:nvSpPr>
        <p:spPr/>
        <p:txBody>
          <a:bodyPr anchor="t"/>
          <a:lstStyle>
            <a:lvl1pPr>
              <a:defRPr baseline="0">
                <a:latin typeface="+mn-lt"/>
                <a:cs typeface="+mn-cs"/>
              </a:defRPr>
            </a:lvl1pPr>
          </a:lstStyle>
          <a:p>
            <a:fld id="{91D32E29-F823-4652-9AE9-2D2F132296DA}" type="datetime1">
              <a:rPr lang="en-US"/>
              <a:pPr/>
              <a:t>1/29/2022</a:t>
            </a:fld>
            <a:endParaRPr lang="en-US" dirty="0"/>
          </a:p>
        </p:txBody>
      </p:sp>
      <p:sp>
        <p:nvSpPr>
          <p:cNvPr id="9" name="Footer Placeholder 9">
            <a:extLst>
              <a:ext uri="{FF2B5EF4-FFF2-40B4-BE49-F238E27FC236}">
                <a16:creationId xmlns:a16="http://schemas.microsoft.com/office/drawing/2014/main" id="{D6A8173E-BB5C-49BB-99D0-21E6CF68FFE5}"/>
              </a:ext>
            </a:extLst>
          </p:cNvPr>
          <p:cNvSpPr>
            <a:spLocks noGrp="1"/>
          </p:cNvSpPr>
          <p:nvPr>
            <p:ph type="ftr" sz="quarter" idx="3"/>
          </p:nvPr>
        </p:nvSpPr>
        <p:spPr/>
        <p:txBody>
          <a:bodyPr/>
          <a:lstStyle>
            <a:lvl1pPr>
              <a:defRPr baseline="0">
                <a:latin typeface="+mn-lt"/>
                <a:cs typeface="+mn-cs"/>
              </a:defRPr>
            </a:lvl1pPr>
          </a:lstStyle>
          <a:p>
            <a:r>
              <a:rPr lang="en-US"/>
              <a:t>© 2021 Software AG. All rights reserved. For internal use only and for Software AG Partners.</a:t>
            </a:r>
            <a:endParaRPr lang="en-US" dirty="0"/>
          </a:p>
        </p:txBody>
      </p:sp>
      <p:sp>
        <p:nvSpPr>
          <p:cNvPr id="10" name="Slide Number Placeholder 10">
            <a:extLst>
              <a:ext uri="{FF2B5EF4-FFF2-40B4-BE49-F238E27FC236}">
                <a16:creationId xmlns:a16="http://schemas.microsoft.com/office/drawing/2014/main" id="{7A84A96E-3CBF-494A-BA72-B024BEB268E2}"/>
              </a:ext>
            </a:extLst>
          </p:cNvPr>
          <p:cNvSpPr>
            <a:spLocks noGrp="1"/>
          </p:cNvSpPr>
          <p:nvPr>
            <p:ph type="sldNum" sz="quarter" idx="4"/>
          </p:nvPr>
        </p:nvSpPr>
        <p:spPr/>
        <p:txBody>
          <a:bodyPr/>
          <a:lstStyle>
            <a:lvl1pPr>
              <a:defRPr baseline="0">
                <a:latin typeface="+mn-lt"/>
                <a:cs typeface="+mn-cs"/>
              </a:defRPr>
            </a:lvl1pPr>
          </a:lstStyle>
          <a:p>
            <a:fld id="{22FF84AA-2C76-4AF1-8502-73D25D47F37C}" type="slidenum">
              <a:rPr lang="en-US"/>
              <a:pPr/>
              <a:t>‹#›</a:t>
            </a:fld>
            <a:endParaRPr lang="en-US" dirty="0"/>
          </a:p>
        </p:txBody>
      </p:sp>
      <p:sp>
        <p:nvSpPr>
          <p:cNvPr id="3" name="Title">
            <a:extLst>
              <a:ext uri="{FF2B5EF4-FFF2-40B4-BE49-F238E27FC236}">
                <a16:creationId xmlns:a16="http://schemas.microsoft.com/office/drawing/2014/main" id="{4C4A97BA-E398-4A90-AC04-44F38D59BD3D}"/>
              </a:ext>
            </a:extLst>
          </p:cNvPr>
          <p:cNvSpPr>
            <a:spLocks noGrp="1"/>
          </p:cNvSpPr>
          <p:nvPr>
            <p:ph type="title"/>
          </p:nvPr>
        </p:nvSpPr>
        <p:spPr>
          <a:xfrm>
            <a:off x="361200" y="221400"/>
            <a:ext cx="11468100" cy="486625"/>
          </a:xfrm>
        </p:spPr>
        <p:txBody>
          <a:bodyPr/>
          <a:lstStyle>
            <a:lvl1pPr>
              <a:defRPr baseline="0"/>
            </a:lvl1pPr>
          </a:lstStyle>
          <a:p>
            <a:r>
              <a:rPr lang="en-US"/>
              <a:t>Click to edit Master title style</a:t>
            </a:r>
            <a:endParaRPr lang="en-US" dirty="0"/>
          </a:p>
        </p:txBody>
      </p:sp>
      <p:sp>
        <p:nvSpPr>
          <p:cNvPr id="2" name="Subtitle 1">
            <a:extLst>
              <a:ext uri="{FF2B5EF4-FFF2-40B4-BE49-F238E27FC236}">
                <a16:creationId xmlns:a16="http://schemas.microsoft.com/office/drawing/2014/main" id="{C36C25D8-ABBB-44DB-B2D5-58DF6B78A784}"/>
              </a:ext>
            </a:extLst>
          </p:cNvPr>
          <p:cNvSpPr>
            <a:spLocks noGrp="1"/>
          </p:cNvSpPr>
          <p:nvPr>
            <p:ph type="subTitle" sz="quarter" idx="1"/>
          </p:nvPr>
        </p:nvSpPr>
        <p:spPr>
          <a:xfrm>
            <a:off x="361200" y="707400"/>
            <a:ext cx="11468100" cy="290513"/>
          </a:xfrm>
        </p:spPr>
        <p:txBody>
          <a:bodyPr tIns="50800"/>
          <a:lstStyle>
            <a:lvl1pPr marL="0" indent="0">
              <a:lnSpc>
                <a:spcPct val="100000"/>
              </a:lnSpc>
              <a:spcBef>
                <a:spcPts val="0"/>
              </a:spcBef>
              <a:spcAft>
                <a:spcPts val="765"/>
              </a:spcAft>
              <a:buFontTx/>
              <a:buNone/>
              <a:defRPr baseline="0">
                <a:solidFill>
                  <a:schemeClr val="accent1"/>
                </a:solidFill>
                <a:latin typeface="+mn-lt"/>
                <a:cs typeface="+mn-cs"/>
              </a:defRPr>
            </a:lvl1pPr>
          </a:lstStyle>
          <a:p>
            <a:pPr lvl="0"/>
            <a:r>
              <a:rPr lang="en-US"/>
              <a:t>Click to edit Master subtitle style</a:t>
            </a:r>
            <a:endParaRPr lang="en-US" dirty="0"/>
          </a:p>
        </p:txBody>
      </p:sp>
      <p:sp>
        <p:nvSpPr>
          <p:cNvPr id="11" name="Text Placeholder 11">
            <a:extLst>
              <a:ext uri="{FF2B5EF4-FFF2-40B4-BE49-F238E27FC236}">
                <a16:creationId xmlns:a16="http://schemas.microsoft.com/office/drawing/2014/main" id="{223FB0B2-C602-4E64-898C-8A5C35D7A7EB}"/>
              </a:ext>
            </a:extLst>
          </p:cNvPr>
          <p:cNvSpPr>
            <a:spLocks noGrp="1"/>
          </p:cNvSpPr>
          <p:nvPr>
            <p:ph type="body" sz="quarter" idx="11"/>
          </p:nvPr>
        </p:nvSpPr>
        <p:spPr>
          <a:xfrm>
            <a:off x="361200" y="4303800"/>
            <a:ext cx="5637213"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2">
            <a:extLst>
              <a:ext uri="{FF2B5EF4-FFF2-40B4-BE49-F238E27FC236}">
                <a16:creationId xmlns:a16="http://schemas.microsoft.com/office/drawing/2014/main" id="{0475DEDF-299E-4BFB-B57C-6C11B6D89FD8}"/>
              </a:ext>
            </a:extLst>
          </p:cNvPr>
          <p:cNvSpPr>
            <a:spLocks noGrp="1"/>
          </p:cNvSpPr>
          <p:nvPr>
            <p:ph type="body" sz="quarter" idx="12"/>
          </p:nvPr>
        </p:nvSpPr>
        <p:spPr>
          <a:xfrm>
            <a:off x="6193200" y="4303800"/>
            <a:ext cx="5637213"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Content Placeholder 21">
            <a:extLst>
              <a:ext uri="{FF2B5EF4-FFF2-40B4-BE49-F238E27FC236}">
                <a16:creationId xmlns:a16="http://schemas.microsoft.com/office/drawing/2014/main" id="{26551A99-EF1B-45EB-B385-09C7416E87A1}"/>
              </a:ext>
            </a:extLst>
          </p:cNvPr>
          <p:cNvSpPr>
            <a:spLocks noGrp="1"/>
          </p:cNvSpPr>
          <p:nvPr>
            <p:ph sz="quarter" idx="21" hasCustomPrompt="1"/>
          </p:nvPr>
        </p:nvSpPr>
        <p:spPr>
          <a:xfrm>
            <a:off x="361200" y="1387800"/>
            <a:ext cx="5637213"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22" name="Content Placeholder 22">
            <a:extLst>
              <a:ext uri="{FF2B5EF4-FFF2-40B4-BE49-F238E27FC236}">
                <a16:creationId xmlns:a16="http://schemas.microsoft.com/office/drawing/2014/main" id="{A5A8B03D-8A5A-4C12-8FF4-6B91140BEAB3}"/>
              </a:ext>
            </a:extLst>
          </p:cNvPr>
          <p:cNvSpPr>
            <a:spLocks noGrp="1"/>
          </p:cNvSpPr>
          <p:nvPr>
            <p:ph sz="quarter" idx="22" hasCustomPrompt="1"/>
          </p:nvPr>
        </p:nvSpPr>
        <p:spPr>
          <a:xfrm>
            <a:off x="6193200" y="1387800"/>
            <a:ext cx="5637213"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13" name="Layout Support" hidden="1">
            <a:extLst>
              <a:ext uri="{FF2B5EF4-FFF2-40B4-BE49-F238E27FC236}">
                <a16:creationId xmlns:a16="http://schemas.microsoft.com/office/drawing/2014/main" id="{FC914281-C060-4287-AD67-15C25894E7FE}"/>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1220</a:t>
            </a:r>
          </a:p>
        </p:txBody>
      </p:sp>
    </p:spTree>
    <p:extLst>
      <p:ext uri="{BB962C8B-B14F-4D97-AF65-F5344CB8AC3E}">
        <p14:creationId xmlns:p14="http://schemas.microsoft.com/office/powerpoint/2010/main" val="842092466"/>
      </p:ext>
    </p:extLst>
  </p:cSld>
  <p:clrMapOvr>
    <a:masterClrMapping/>
  </p:clrMapOvr>
  <p:hf hdr="0" dt="0"/>
  <p:extLst>
    <p:ext uri="{DCECCB84-F9BA-43D5-87BE-67443E8EF086}">
      <p15:sldGuideLst xmlns:p15="http://schemas.microsoft.com/office/powerpoint/2012/main">
        <p15:guide id="1" orient="horz" pos="874">
          <p15:clr>
            <a:srgbClr val="547EBF"/>
          </p15:clr>
        </p15:guide>
        <p15:guide id="2" orient="horz" pos="2589">
          <p15:clr>
            <a:srgbClr val="547EBF"/>
          </p15:clr>
        </p15:guide>
        <p15:guide id="3" orient="horz" pos="3813">
          <p15:clr>
            <a:srgbClr val="547EBF"/>
          </p15:clr>
        </p15:guide>
        <p15:guide id="4" orient="horz" pos="2711">
          <p15:clr>
            <a:srgbClr val="547EBF"/>
          </p15:clr>
        </p15:guide>
        <p15:guide id="5" pos="228">
          <p15:clr>
            <a:srgbClr val="547EBF"/>
          </p15:clr>
        </p15:guide>
        <p15:guide id="6" pos="7452">
          <p15:clr>
            <a:srgbClr val="547EBF"/>
          </p15:clr>
        </p15:guide>
        <p15:guide id="7" pos="3779" userDrawn="1">
          <p15:clr>
            <a:srgbClr val="547EBF"/>
          </p15:clr>
        </p15:guide>
        <p15:guide id="8" pos="3901" userDrawn="1">
          <p15:clr>
            <a:srgbClr val="547EBF"/>
          </p15:clr>
        </p15:guide>
        <p15:guide id="9" orient="horz" pos="3874" userDrawn="1">
          <p15:clr>
            <a:srgbClr val="547EBF"/>
          </p15:clr>
        </p15:guide>
        <p15:guide id="10" orient="horz" pos="3997" userDrawn="1">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3 Contents over Text" preserve="1">
  <p:cSld name="3 Contents over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873E0B9-972B-4EE9-AAD6-90E3A7CE1984}"/>
              </a:ext>
            </a:extLst>
          </p:cNvPr>
          <p:cNvSpPr/>
          <p:nvPr userDrawn="1"/>
        </p:nvSpPr>
        <p:spPr>
          <a:xfrm>
            <a:off x="361200" y="1387800"/>
            <a:ext cx="3693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15" name="Rectangle 14">
            <a:extLst>
              <a:ext uri="{FF2B5EF4-FFF2-40B4-BE49-F238E27FC236}">
                <a16:creationId xmlns:a16="http://schemas.microsoft.com/office/drawing/2014/main" id="{44D284DD-F64B-4980-926D-5AA011A5E851}"/>
              </a:ext>
            </a:extLst>
          </p:cNvPr>
          <p:cNvSpPr/>
          <p:nvPr userDrawn="1"/>
        </p:nvSpPr>
        <p:spPr>
          <a:xfrm>
            <a:off x="4249200" y="1387800"/>
            <a:ext cx="3693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16" name="Rectangle 15">
            <a:extLst>
              <a:ext uri="{FF2B5EF4-FFF2-40B4-BE49-F238E27FC236}">
                <a16:creationId xmlns:a16="http://schemas.microsoft.com/office/drawing/2014/main" id="{D194261B-520D-40B2-9E32-E8724EE7516B}"/>
              </a:ext>
            </a:extLst>
          </p:cNvPr>
          <p:cNvSpPr/>
          <p:nvPr userDrawn="1"/>
        </p:nvSpPr>
        <p:spPr>
          <a:xfrm>
            <a:off x="8137200" y="1387800"/>
            <a:ext cx="3693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3" name="Title">
            <a:extLst>
              <a:ext uri="{FF2B5EF4-FFF2-40B4-BE49-F238E27FC236}">
                <a16:creationId xmlns:a16="http://schemas.microsoft.com/office/drawing/2014/main" id="{4C4A97BA-E398-4A90-AC04-44F38D59BD3D}"/>
              </a:ext>
            </a:extLst>
          </p:cNvPr>
          <p:cNvSpPr>
            <a:spLocks noGrp="1"/>
          </p:cNvSpPr>
          <p:nvPr>
            <p:ph type="title"/>
          </p:nvPr>
        </p:nvSpPr>
        <p:spPr>
          <a:xfrm>
            <a:off x="361200" y="221400"/>
            <a:ext cx="11468100" cy="486625"/>
          </a:xfrm>
        </p:spPr>
        <p:txBody>
          <a:bodyPr/>
          <a:lstStyle>
            <a:lvl1pPr>
              <a:defRPr baseline="0"/>
            </a:lvl1pPr>
          </a:lstStyle>
          <a:p>
            <a:r>
              <a:rPr lang="en-US"/>
              <a:t>Click to edit Master title style</a:t>
            </a:r>
            <a:endParaRPr lang="en-US" dirty="0"/>
          </a:p>
        </p:txBody>
      </p:sp>
      <p:sp>
        <p:nvSpPr>
          <p:cNvPr id="2" name="Subtitle 1">
            <a:extLst>
              <a:ext uri="{FF2B5EF4-FFF2-40B4-BE49-F238E27FC236}">
                <a16:creationId xmlns:a16="http://schemas.microsoft.com/office/drawing/2014/main" id="{C36C25D8-ABBB-44DB-B2D5-58DF6B78A784}"/>
              </a:ext>
            </a:extLst>
          </p:cNvPr>
          <p:cNvSpPr>
            <a:spLocks noGrp="1"/>
          </p:cNvSpPr>
          <p:nvPr>
            <p:ph type="subTitle" sz="quarter" idx="1"/>
          </p:nvPr>
        </p:nvSpPr>
        <p:spPr>
          <a:xfrm>
            <a:off x="361200" y="707400"/>
            <a:ext cx="11468100" cy="290513"/>
          </a:xfrm>
        </p:spPr>
        <p:txBody>
          <a:bodyPr tIns="50800"/>
          <a:lstStyle>
            <a:lvl1pPr marL="0" indent="0">
              <a:lnSpc>
                <a:spcPct val="100000"/>
              </a:lnSpc>
              <a:spcBef>
                <a:spcPts val="0"/>
              </a:spcBef>
              <a:spcAft>
                <a:spcPts val="765"/>
              </a:spcAft>
              <a:buFontTx/>
              <a:buNone/>
              <a:defRPr baseline="0">
                <a:solidFill>
                  <a:schemeClr val="accent1"/>
                </a:solidFill>
                <a:latin typeface="+mn-lt"/>
                <a:cs typeface="+mn-cs"/>
              </a:defRPr>
            </a:lvl1pPr>
          </a:lstStyle>
          <a:p>
            <a:pPr lvl="0"/>
            <a:r>
              <a:rPr lang="en-US"/>
              <a:t>Click to edit Master subtitle style</a:t>
            </a:r>
            <a:endParaRPr lang="en-US" dirty="0"/>
          </a:p>
        </p:txBody>
      </p:sp>
      <p:sp>
        <p:nvSpPr>
          <p:cNvPr id="8" name="Date Placeholder 8">
            <a:extLst>
              <a:ext uri="{FF2B5EF4-FFF2-40B4-BE49-F238E27FC236}">
                <a16:creationId xmlns:a16="http://schemas.microsoft.com/office/drawing/2014/main" id="{41983374-6A53-4E06-B0CA-20559F682FFC}"/>
              </a:ext>
            </a:extLst>
          </p:cNvPr>
          <p:cNvSpPr>
            <a:spLocks noGrp="1"/>
          </p:cNvSpPr>
          <p:nvPr>
            <p:ph type="dt" sz="half" idx="2"/>
          </p:nvPr>
        </p:nvSpPr>
        <p:spPr/>
        <p:txBody>
          <a:bodyPr anchor="t"/>
          <a:lstStyle>
            <a:lvl1pPr>
              <a:defRPr baseline="0">
                <a:latin typeface="+mn-lt"/>
                <a:cs typeface="+mn-cs"/>
              </a:defRPr>
            </a:lvl1pPr>
          </a:lstStyle>
          <a:p>
            <a:fld id="{91D32E29-F823-4652-9AE9-2D2F132296DA}" type="datetime1">
              <a:rPr lang="en-US"/>
              <a:pPr/>
              <a:t>1/29/2022</a:t>
            </a:fld>
            <a:endParaRPr lang="en-US" dirty="0"/>
          </a:p>
        </p:txBody>
      </p:sp>
      <p:sp>
        <p:nvSpPr>
          <p:cNvPr id="9" name="Footer Placeholder 9">
            <a:extLst>
              <a:ext uri="{FF2B5EF4-FFF2-40B4-BE49-F238E27FC236}">
                <a16:creationId xmlns:a16="http://schemas.microsoft.com/office/drawing/2014/main" id="{D6A8173E-BB5C-49BB-99D0-21E6CF68FFE5}"/>
              </a:ext>
            </a:extLst>
          </p:cNvPr>
          <p:cNvSpPr>
            <a:spLocks noGrp="1"/>
          </p:cNvSpPr>
          <p:nvPr>
            <p:ph type="ftr" sz="quarter" idx="3"/>
          </p:nvPr>
        </p:nvSpPr>
        <p:spPr/>
        <p:txBody>
          <a:bodyPr/>
          <a:lstStyle>
            <a:lvl1pPr>
              <a:defRPr baseline="0">
                <a:latin typeface="+mn-lt"/>
                <a:cs typeface="+mn-cs"/>
              </a:defRPr>
            </a:lvl1pPr>
          </a:lstStyle>
          <a:p>
            <a:r>
              <a:rPr lang="en-US"/>
              <a:t>© 2021 Software AG. All rights reserved. For internal use only and for Software AG Partners.</a:t>
            </a:r>
            <a:endParaRPr lang="en-US" dirty="0"/>
          </a:p>
        </p:txBody>
      </p:sp>
      <p:sp>
        <p:nvSpPr>
          <p:cNvPr id="10" name="Slide Number Placeholder 10">
            <a:extLst>
              <a:ext uri="{FF2B5EF4-FFF2-40B4-BE49-F238E27FC236}">
                <a16:creationId xmlns:a16="http://schemas.microsoft.com/office/drawing/2014/main" id="{7A84A96E-3CBF-494A-BA72-B024BEB268E2}"/>
              </a:ext>
            </a:extLst>
          </p:cNvPr>
          <p:cNvSpPr>
            <a:spLocks noGrp="1"/>
          </p:cNvSpPr>
          <p:nvPr>
            <p:ph type="sldNum" sz="quarter" idx="4"/>
          </p:nvPr>
        </p:nvSpPr>
        <p:spPr/>
        <p:txBody>
          <a:bodyPr/>
          <a:lstStyle>
            <a:lvl1pPr>
              <a:defRPr baseline="0">
                <a:latin typeface="+mn-lt"/>
                <a:cs typeface="+mn-cs"/>
              </a:defRPr>
            </a:lvl1pPr>
          </a:lstStyle>
          <a:p>
            <a:fld id="{22FF84AA-2C76-4AF1-8502-73D25D47F37C}" type="slidenum">
              <a:rPr lang="en-US"/>
              <a:pPr/>
              <a:t>‹#›</a:t>
            </a:fld>
            <a:endParaRPr lang="en-US" dirty="0"/>
          </a:p>
        </p:txBody>
      </p:sp>
      <p:sp>
        <p:nvSpPr>
          <p:cNvPr id="11" name="Text Placeholder 11">
            <a:extLst>
              <a:ext uri="{FF2B5EF4-FFF2-40B4-BE49-F238E27FC236}">
                <a16:creationId xmlns:a16="http://schemas.microsoft.com/office/drawing/2014/main" id="{223FB0B2-C602-4E64-898C-8A5C35D7A7EB}"/>
              </a:ext>
            </a:extLst>
          </p:cNvPr>
          <p:cNvSpPr>
            <a:spLocks noGrp="1"/>
          </p:cNvSpPr>
          <p:nvPr>
            <p:ph type="body" sz="quarter" idx="11"/>
          </p:nvPr>
        </p:nvSpPr>
        <p:spPr>
          <a:xfrm>
            <a:off x="361200" y="4303800"/>
            <a:ext cx="3692850"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2">
            <a:extLst>
              <a:ext uri="{FF2B5EF4-FFF2-40B4-BE49-F238E27FC236}">
                <a16:creationId xmlns:a16="http://schemas.microsoft.com/office/drawing/2014/main" id="{0475DEDF-299E-4BFB-B57C-6C11B6D89FD8}"/>
              </a:ext>
            </a:extLst>
          </p:cNvPr>
          <p:cNvSpPr>
            <a:spLocks noGrp="1"/>
          </p:cNvSpPr>
          <p:nvPr>
            <p:ph type="body" sz="quarter" idx="12"/>
          </p:nvPr>
        </p:nvSpPr>
        <p:spPr>
          <a:xfrm>
            <a:off x="4249200" y="4303800"/>
            <a:ext cx="3692850"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3">
            <a:extLst>
              <a:ext uri="{FF2B5EF4-FFF2-40B4-BE49-F238E27FC236}">
                <a16:creationId xmlns:a16="http://schemas.microsoft.com/office/drawing/2014/main" id="{BCED38B0-1624-4BD2-8753-92BF612B4D59}"/>
              </a:ext>
            </a:extLst>
          </p:cNvPr>
          <p:cNvSpPr>
            <a:spLocks noGrp="1"/>
          </p:cNvSpPr>
          <p:nvPr>
            <p:ph type="body" sz="quarter" idx="13"/>
          </p:nvPr>
        </p:nvSpPr>
        <p:spPr>
          <a:xfrm>
            <a:off x="8137200" y="4303800"/>
            <a:ext cx="3692850"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Content Placeholder 21">
            <a:extLst>
              <a:ext uri="{FF2B5EF4-FFF2-40B4-BE49-F238E27FC236}">
                <a16:creationId xmlns:a16="http://schemas.microsoft.com/office/drawing/2014/main" id="{26551A99-EF1B-45EB-B385-09C7416E87A1}"/>
              </a:ext>
            </a:extLst>
          </p:cNvPr>
          <p:cNvSpPr>
            <a:spLocks noGrp="1"/>
          </p:cNvSpPr>
          <p:nvPr>
            <p:ph sz="quarter" idx="21" hasCustomPrompt="1"/>
          </p:nvPr>
        </p:nvSpPr>
        <p:spPr>
          <a:xfrm>
            <a:off x="361200" y="1387800"/>
            <a:ext cx="3692850"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22" name="Content Placeholder 22">
            <a:extLst>
              <a:ext uri="{FF2B5EF4-FFF2-40B4-BE49-F238E27FC236}">
                <a16:creationId xmlns:a16="http://schemas.microsoft.com/office/drawing/2014/main" id="{A5A8B03D-8A5A-4C12-8FF4-6B91140BEAB3}"/>
              </a:ext>
            </a:extLst>
          </p:cNvPr>
          <p:cNvSpPr>
            <a:spLocks noGrp="1"/>
          </p:cNvSpPr>
          <p:nvPr>
            <p:ph sz="quarter" idx="22" hasCustomPrompt="1"/>
          </p:nvPr>
        </p:nvSpPr>
        <p:spPr>
          <a:xfrm>
            <a:off x="4249200" y="1387800"/>
            <a:ext cx="3692850"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23" name="Content Placeholder 23">
            <a:extLst>
              <a:ext uri="{FF2B5EF4-FFF2-40B4-BE49-F238E27FC236}">
                <a16:creationId xmlns:a16="http://schemas.microsoft.com/office/drawing/2014/main" id="{E64B865A-4E1D-4441-9739-39C1C7A379A3}"/>
              </a:ext>
            </a:extLst>
          </p:cNvPr>
          <p:cNvSpPr>
            <a:spLocks noGrp="1"/>
          </p:cNvSpPr>
          <p:nvPr>
            <p:ph sz="quarter" idx="23" hasCustomPrompt="1"/>
          </p:nvPr>
        </p:nvSpPr>
        <p:spPr>
          <a:xfrm>
            <a:off x="8137200" y="1387800"/>
            <a:ext cx="3692850"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14" name="Layout Support" hidden="1">
            <a:extLst>
              <a:ext uri="{FF2B5EF4-FFF2-40B4-BE49-F238E27FC236}">
                <a16:creationId xmlns:a16="http://schemas.microsoft.com/office/drawing/2014/main" id="{F4E23913-8BD1-4C9F-9730-2643269D0298}"/>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1330</a:t>
            </a:r>
          </a:p>
        </p:txBody>
      </p:sp>
    </p:spTree>
    <p:extLst>
      <p:ext uri="{BB962C8B-B14F-4D97-AF65-F5344CB8AC3E}">
        <p14:creationId xmlns:p14="http://schemas.microsoft.com/office/powerpoint/2010/main" val="3905544435"/>
      </p:ext>
    </p:extLst>
  </p:cSld>
  <p:clrMapOvr>
    <a:masterClrMapping/>
  </p:clrMapOvr>
  <p:hf hdr="0" dt="0"/>
  <p:extLst>
    <p:ext uri="{DCECCB84-F9BA-43D5-87BE-67443E8EF086}">
      <p15:sldGuideLst xmlns:p15="http://schemas.microsoft.com/office/powerpoint/2012/main">
        <p15:guide id="1" orient="horz" pos="874" userDrawn="1">
          <p15:clr>
            <a:srgbClr val="547EBF"/>
          </p15:clr>
        </p15:guide>
        <p15:guide id="2" orient="horz" pos="2589" userDrawn="1">
          <p15:clr>
            <a:srgbClr val="547EBF"/>
          </p15:clr>
        </p15:guide>
        <p15:guide id="3" orient="horz" pos="3813" userDrawn="1">
          <p15:clr>
            <a:srgbClr val="547EBF"/>
          </p15:clr>
        </p15:guide>
        <p15:guide id="4" orient="horz" pos="2711" userDrawn="1">
          <p15:clr>
            <a:srgbClr val="547EBF"/>
          </p15:clr>
        </p15:guide>
        <p15:guide id="5" pos="228" userDrawn="1">
          <p15:clr>
            <a:srgbClr val="547EBF"/>
          </p15:clr>
        </p15:guide>
        <p15:guide id="6" pos="7452" userDrawn="1">
          <p15:clr>
            <a:srgbClr val="547EBF"/>
          </p15:clr>
        </p15:guide>
        <p15:guide id="7" pos="2554" userDrawn="1">
          <p15:clr>
            <a:srgbClr val="547EBF"/>
          </p15:clr>
        </p15:guide>
        <p15:guide id="8" pos="2677" userDrawn="1">
          <p15:clr>
            <a:srgbClr val="547EBF"/>
          </p15:clr>
        </p15:guide>
        <p15:guide id="9" pos="5003" userDrawn="1">
          <p15:clr>
            <a:srgbClr val="547EBF"/>
          </p15:clr>
        </p15:guide>
        <p15:guide id="10" pos="5126" userDrawn="1">
          <p15:clr>
            <a:srgbClr val="547EBF"/>
          </p15:clr>
        </p15:guide>
        <p15:guide id="11" orient="horz" pos="3874" userDrawn="1">
          <p15:clr>
            <a:srgbClr val="547EBF"/>
          </p15:clr>
        </p15:guide>
        <p15:guide id="12" orient="horz" pos="3997" userDrawn="1">
          <p15:clr>
            <a:srgbClr val="547EBF"/>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tags" Target="../tags/tag9.xml"/><Relationship Id="rId21" Type="http://schemas.openxmlformats.org/officeDocument/2006/relationships/tags" Target="../tags/tag4.xml"/><Relationship Id="rId42" Type="http://schemas.openxmlformats.org/officeDocument/2006/relationships/tags" Target="../tags/tag25.xml"/><Relationship Id="rId47" Type="http://schemas.openxmlformats.org/officeDocument/2006/relationships/tags" Target="../tags/tag30.xml"/><Relationship Id="rId63" Type="http://schemas.openxmlformats.org/officeDocument/2006/relationships/tags" Target="../tags/tag46.xml"/><Relationship Id="rId68" Type="http://schemas.openxmlformats.org/officeDocument/2006/relationships/tags" Target="../tags/tag51.xml"/><Relationship Id="rId84" Type="http://schemas.openxmlformats.org/officeDocument/2006/relationships/tags" Target="../tags/tag67.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tags" Target="../tags/tag15.xml"/><Relationship Id="rId37" Type="http://schemas.openxmlformats.org/officeDocument/2006/relationships/tags" Target="../tags/tag20.xml"/><Relationship Id="rId53" Type="http://schemas.openxmlformats.org/officeDocument/2006/relationships/tags" Target="../tags/tag36.xml"/><Relationship Id="rId58" Type="http://schemas.openxmlformats.org/officeDocument/2006/relationships/tags" Target="../tags/tag41.xml"/><Relationship Id="rId74" Type="http://schemas.openxmlformats.org/officeDocument/2006/relationships/tags" Target="../tags/tag57.xml"/><Relationship Id="rId79" Type="http://schemas.openxmlformats.org/officeDocument/2006/relationships/tags" Target="../tags/tag62.xml"/><Relationship Id="rId5" Type="http://schemas.openxmlformats.org/officeDocument/2006/relationships/slideLayout" Target="../slideLayouts/slideLayout5.xml"/><Relationship Id="rId61" Type="http://schemas.openxmlformats.org/officeDocument/2006/relationships/tags" Target="../tags/tag44.xml"/><Relationship Id="rId82" Type="http://schemas.openxmlformats.org/officeDocument/2006/relationships/tags" Target="../tags/tag65.xml"/><Relationship Id="rId19" Type="http://schemas.openxmlformats.org/officeDocument/2006/relationships/tags" Target="../tags/tag2.xml"/><Relationship Id="rId14" Type="http://schemas.openxmlformats.org/officeDocument/2006/relationships/slideLayout" Target="../slideLayouts/slideLayout14.xml"/><Relationship Id="rId22" Type="http://schemas.openxmlformats.org/officeDocument/2006/relationships/tags" Target="../tags/tag5.xml"/><Relationship Id="rId27" Type="http://schemas.openxmlformats.org/officeDocument/2006/relationships/tags" Target="../tags/tag10.xml"/><Relationship Id="rId30" Type="http://schemas.openxmlformats.org/officeDocument/2006/relationships/tags" Target="../tags/tag13.xml"/><Relationship Id="rId35" Type="http://schemas.openxmlformats.org/officeDocument/2006/relationships/tags" Target="../tags/tag18.xml"/><Relationship Id="rId43" Type="http://schemas.openxmlformats.org/officeDocument/2006/relationships/tags" Target="../tags/tag26.xml"/><Relationship Id="rId48" Type="http://schemas.openxmlformats.org/officeDocument/2006/relationships/tags" Target="../tags/tag31.xml"/><Relationship Id="rId56" Type="http://schemas.openxmlformats.org/officeDocument/2006/relationships/tags" Target="../tags/tag39.xml"/><Relationship Id="rId64" Type="http://schemas.openxmlformats.org/officeDocument/2006/relationships/tags" Target="../tags/tag47.xml"/><Relationship Id="rId69" Type="http://schemas.openxmlformats.org/officeDocument/2006/relationships/tags" Target="../tags/tag52.xml"/><Relationship Id="rId77" Type="http://schemas.openxmlformats.org/officeDocument/2006/relationships/tags" Target="../tags/tag60.xml"/><Relationship Id="rId8" Type="http://schemas.openxmlformats.org/officeDocument/2006/relationships/slideLayout" Target="../slideLayouts/slideLayout8.xml"/><Relationship Id="rId51" Type="http://schemas.openxmlformats.org/officeDocument/2006/relationships/tags" Target="../tags/tag34.xml"/><Relationship Id="rId72" Type="http://schemas.openxmlformats.org/officeDocument/2006/relationships/tags" Target="../tags/tag55.xml"/><Relationship Id="rId80" Type="http://schemas.openxmlformats.org/officeDocument/2006/relationships/tags" Target="../tags/tag63.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8.xml"/><Relationship Id="rId33" Type="http://schemas.openxmlformats.org/officeDocument/2006/relationships/tags" Target="../tags/tag16.xml"/><Relationship Id="rId38" Type="http://schemas.openxmlformats.org/officeDocument/2006/relationships/tags" Target="../tags/tag21.xml"/><Relationship Id="rId46" Type="http://schemas.openxmlformats.org/officeDocument/2006/relationships/tags" Target="../tags/tag29.xml"/><Relationship Id="rId59" Type="http://schemas.openxmlformats.org/officeDocument/2006/relationships/tags" Target="../tags/tag42.xml"/><Relationship Id="rId67" Type="http://schemas.openxmlformats.org/officeDocument/2006/relationships/tags" Target="../tags/tag50.xml"/><Relationship Id="rId20" Type="http://schemas.openxmlformats.org/officeDocument/2006/relationships/tags" Target="../tags/tag3.xml"/><Relationship Id="rId41" Type="http://schemas.openxmlformats.org/officeDocument/2006/relationships/tags" Target="../tags/tag24.xml"/><Relationship Id="rId54" Type="http://schemas.openxmlformats.org/officeDocument/2006/relationships/tags" Target="../tags/tag37.xml"/><Relationship Id="rId62" Type="http://schemas.openxmlformats.org/officeDocument/2006/relationships/tags" Target="../tags/tag45.xml"/><Relationship Id="rId70" Type="http://schemas.openxmlformats.org/officeDocument/2006/relationships/tags" Target="../tags/tag53.xml"/><Relationship Id="rId75" Type="http://schemas.openxmlformats.org/officeDocument/2006/relationships/tags" Target="../tags/tag58.xml"/><Relationship Id="rId83" Type="http://schemas.openxmlformats.org/officeDocument/2006/relationships/tags" Target="../tags/tag66.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tags" Target="../tags/tag6.xml"/><Relationship Id="rId28" Type="http://schemas.openxmlformats.org/officeDocument/2006/relationships/tags" Target="../tags/tag11.xml"/><Relationship Id="rId36" Type="http://schemas.openxmlformats.org/officeDocument/2006/relationships/tags" Target="../tags/tag19.xml"/><Relationship Id="rId49" Type="http://schemas.openxmlformats.org/officeDocument/2006/relationships/tags" Target="../tags/tag32.xml"/><Relationship Id="rId57" Type="http://schemas.openxmlformats.org/officeDocument/2006/relationships/tags" Target="../tags/tag40.xml"/><Relationship Id="rId10" Type="http://schemas.openxmlformats.org/officeDocument/2006/relationships/slideLayout" Target="../slideLayouts/slideLayout10.xml"/><Relationship Id="rId31" Type="http://schemas.openxmlformats.org/officeDocument/2006/relationships/tags" Target="../tags/tag14.xml"/><Relationship Id="rId44" Type="http://schemas.openxmlformats.org/officeDocument/2006/relationships/tags" Target="../tags/tag27.xml"/><Relationship Id="rId52" Type="http://schemas.openxmlformats.org/officeDocument/2006/relationships/tags" Target="../tags/tag35.xml"/><Relationship Id="rId60" Type="http://schemas.openxmlformats.org/officeDocument/2006/relationships/tags" Target="../tags/tag43.xml"/><Relationship Id="rId65" Type="http://schemas.openxmlformats.org/officeDocument/2006/relationships/tags" Target="../tags/tag48.xml"/><Relationship Id="rId73" Type="http://schemas.openxmlformats.org/officeDocument/2006/relationships/tags" Target="../tags/tag56.xml"/><Relationship Id="rId78" Type="http://schemas.openxmlformats.org/officeDocument/2006/relationships/tags" Target="../tags/tag61.xml"/><Relationship Id="rId81" Type="http://schemas.openxmlformats.org/officeDocument/2006/relationships/tags" Target="../tags/tag64.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theme" Target="../theme/theme1.xml"/><Relationship Id="rId39" Type="http://schemas.openxmlformats.org/officeDocument/2006/relationships/tags" Target="../tags/tag22.xml"/><Relationship Id="rId34" Type="http://schemas.openxmlformats.org/officeDocument/2006/relationships/tags" Target="../tags/tag17.xml"/><Relationship Id="rId50" Type="http://schemas.openxmlformats.org/officeDocument/2006/relationships/tags" Target="../tags/tag33.xml"/><Relationship Id="rId55" Type="http://schemas.openxmlformats.org/officeDocument/2006/relationships/tags" Target="../tags/tag38.xml"/><Relationship Id="rId76" Type="http://schemas.openxmlformats.org/officeDocument/2006/relationships/tags" Target="../tags/tag59.xml"/><Relationship Id="rId7" Type="http://schemas.openxmlformats.org/officeDocument/2006/relationships/slideLayout" Target="../slideLayouts/slideLayout7.xml"/><Relationship Id="rId71" Type="http://schemas.openxmlformats.org/officeDocument/2006/relationships/tags" Target="../tags/tag54.xml"/><Relationship Id="rId2" Type="http://schemas.openxmlformats.org/officeDocument/2006/relationships/slideLayout" Target="../slideLayouts/slideLayout2.xml"/><Relationship Id="rId29" Type="http://schemas.openxmlformats.org/officeDocument/2006/relationships/tags" Target="../tags/tag12.xml"/><Relationship Id="rId24" Type="http://schemas.openxmlformats.org/officeDocument/2006/relationships/tags" Target="../tags/tag7.xml"/><Relationship Id="rId40" Type="http://schemas.openxmlformats.org/officeDocument/2006/relationships/tags" Target="../tags/tag23.xml"/><Relationship Id="rId45" Type="http://schemas.openxmlformats.org/officeDocument/2006/relationships/tags" Target="../tags/tag28.xml"/><Relationship Id="rId66" Type="http://schemas.openxmlformats.org/officeDocument/2006/relationships/tags" Target="../tags/tag4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Title Slide">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1963740-75C3-4D24-BD01-A222651F7BD5}"/>
              </a:ext>
            </a:extLst>
          </p:cNvPr>
          <p:cNvSpPr>
            <a:spLocks noGrp="1"/>
          </p:cNvSpPr>
          <p:nvPr>
            <p:ph type="title"/>
          </p:nvPr>
        </p:nvSpPr>
        <p:spPr>
          <a:xfrm>
            <a:off x="361200" y="221400"/>
            <a:ext cx="11468100" cy="486625"/>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 Drawing Area">
            <a:extLst>
              <a:ext uri="{FF2B5EF4-FFF2-40B4-BE49-F238E27FC236}">
                <a16:creationId xmlns:a16="http://schemas.microsoft.com/office/drawing/2014/main" id="{3B0C5149-C68E-4E6F-8D27-E4CCA059E6F6}"/>
              </a:ext>
            </a:extLst>
          </p:cNvPr>
          <p:cNvSpPr>
            <a:spLocks noGrp="1"/>
          </p:cNvSpPr>
          <p:nvPr>
            <p:ph type="body" idx="1"/>
          </p:nvPr>
        </p:nvSpPr>
        <p:spPr>
          <a:xfrm>
            <a:off x="361200" y="1387800"/>
            <a:ext cx="11468850" cy="4665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Date Placeholder 8">
            <a:extLst>
              <a:ext uri="{FF2B5EF4-FFF2-40B4-BE49-F238E27FC236}">
                <a16:creationId xmlns:a16="http://schemas.microsoft.com/office/drawing/2014/main" id="{156E601A-B1D3-4FF3-92D0-5D9809805AE8}"/>
              </a:ext>
            </a:extLst>
          </p:cNvPr>
          <p:cNvSpPr>
            <a:spLocks noGrp="1"/>
          </p:cNvSpPr>
          <p:nvPr>
            <p:ph type="dt" sz="half" idx="8"/>
          </p:nvPr>
        </p:nvSpPr>
        <p:spPr>
          <a:xfrm>
            <a:off x="12186019" y="6852019"/>
            <a:ext cx="3600" cy="3600"/>
          </a:xfrm>
          <a:prstGeom prst="rect">
            <a:avLst/>
          </a:prstGeom>
        </p:spPr>
        <p:txBody>
          <a:bodyPr vert="horz" wrap="none" lIns="0" tIns="0" rIns="0" bIns="0" rtlCol="0" anchor="b" anchorCtr="0"/>
          <a:lstStyle>
            <a:lvl1pPr algn="r">
              <a:defRPr sz="600" baseline="0">
                <a:noFill/>
              </a:defRPr>
            </a:lvl1pPr>
          </a:lstStyle>
          <a:p>
            <a:fld id="{04A728B0-2EE8-4602-849F-D2D469FDAEE2}" type="datetime1">
              <a:rPr lang="en-US"/>
              <a:pPr/>
              <a:t>1/29/2022</a:t>
            </a:fld>
            <a:endParaRPr lang="en-US" dirty="0"/>
          </a:p>
        </p:txBody>
      </p:sp>
      <p:sp>
        <p:nvSpPr>
          <p:cNvPr id="9" name="Footer Placeholder 9">
            <a:extLst>
              <a:ext uri="{FF2B5EF4-FFF2-40B4-BE49-F238E27FC236}">
                <a16:creationId xmlns:a16="http://schemas.microsoft.com/office/drawing/2014/main" id="{DAADE90F-892A-40CE-8EB3-556F59300470}"/>
              </a:ext>
            </a:extLst>
          </p:cNvPr>
          <p:cNvSpPr>
            <a:spLocks noGrp="1"/>
          </p:cNvSpPr>
          <p:nvPr>
            <p:ph type="ftr" sz="quarter" idx="9"/>
          </p:nvPr>
        </p:nvSpPr>
        <p:spPr>
          <a:xfrm>
            <a:off x="749301" y="6539400"/>
            <a:ext cx="5346700" cy="97938"/>
          </a:xfrm>
          <a:prstGeom prst="rect">
            <a:avLst/>
          </a:prstGeom>
        </p:spPr>
        <p:txBody>
          <a:bodyPr vert="horz" lIns="0" tIns="0" rIns="0" bIns="0" rtlCol="0" anchor="b" anchorCtr="0"/>
          <a:lstStyle>
            <a:lvl1pPr algn="l">
              <a:defRPr sz="600" baseline="0">
                <a:solidFill>
                  <a:schemeClr val="tx1"/>
                </a:solidFill>
              </a:defRPr>
            </a:lvl1pPr>
          </a:lstStyle>
          <a:p>
            <a:r>
              <a:rPr lang="en-US"/>
              <a:t>© 2021 Software AG. All rights reserved. For internal use only and for Software AG Partners.</a:t>
            </a:r>
            <a:endParaRPr lang="en-US" dirty="0"/>
          </a:p>
        </p:txBody>
      </p:sp>
      <p:sp>
        <p:nvSpPr>
          <p:cNvPr id="10" name="Slide Number Placeholder 10">
            <a:extLst>
              <a:ext uri="{FF2B5EF4-FFF2-40B4-BE49-F238E27FC236}">
                <a16:creationId xmlns:a16="http://schemas.microsoft.com/office/drawing/2014/main" id="{47084F0C-A337-417E-B7A3-E1EFE0CA4BA3}"/>
              </a:ext>
            </a:extLst>
          </p:cNvPr>
          <p:cNvSpPr>
            <a:spLocks noGrp="1"/>
          </p:cNvSpPr>
          <p:nvPr>
            <p:ph type="sldNum" sz="quarter" idx="10"/>
          </p:nvPr>
        </p:nvSpPr>
        <p:spPr>
          <a:xfrm>
            <a:off x="361200" y="6539400"/>
            <a:ext cx="388100" cy="97938"/>
          </a:xfrm>
          <a:prstGeom prst="rect">
            <a:avLst/>
          </a:prstGeom>
        </p:spPr>
        <p:txBody>
          <a:bodyPr vert="horz" lIns="0" tIns="0" rIns="0" bIns="0" rtlCol="0" anchor="b" anchorCtr="0"/>
          <a:lstStyle>
            <a:lvl1pPr algn="l">
              <a:lnSpc>
                <a:spcPct val="100000"/>
              </a:lnSpc>
              <a:defRPr sz="600" baseline="0">
                <a:solidFill>
                  <a:schemeClr val="tx1"/>
                </a:solidFill>
              </a:defRPr>
            </a:lvl1pPr>
          </a:lstStyle>
          <a:p>
            <a:fld id="{22FF84AA-2C76-4AF1-8502-73D25D47F37C}" type="slidenum">
              <a:rPr lang="en-US"/>
              <a:pPr/>
              <a:t>‹#›</a:t>
            </a:fld>
            <a:endParaRPr lang="en-US" dirty="0"/>
          </a:p>
        </p:txBody>
      </p:sp>
      <p:sp>
        <p:nvSpPr>
          <p:cNvPr id="4" name="Dynamic SAG LOGO">
            <a:extLst>
              <a:ext uri="{FF2B5EF4-FFF2-40B4-BE49-F238E27FC236}">
                <a16:creationId xmlns:a16="http://schemas.microsoft.com/office/drawing/2014/main" id="{ECED27B7-7038-439F-A14B-9A3617C07450}"/>
              </a:ext>
            </a:extLst>
          </p:cNvPr>
          <p:cNvSpPr>
            <a:spLocks noChangeAspect="1" noEditPoints="1"/>
          </p:cNvSpPr>
          <p:nvPr userDrawn="1"/>
        </p:nvSpPr>
        <p:spPr bwMode="black">
          <a:xfrm>
            <a:off x="10081200" y="6345001"/>
            <a:ext cx="1749600" cy="266730"/>
          </a:xfrm>
          <a:custGeom>
            <a:avLst/>
            <a:gdLst>
              <a:gd name="T0" fmla="*/ 1015 w 1141"/>
              <a:gd name="T1" fmla="*/ 164 h 174"/>
              <a:gd name="T2" fmla="*/ 1008 w 1141"/>
              <a:gd name="T3" fmla="*/ 148 h 174"/>
              <a:gd name="T4" fmla="*/ 962 w 1141"/>
              <a:gd name="T5" fmla="*/ 149 h 174"/>
              <a:gd name="T6" fmla="*/ 1019 w 1141"/>
              <a:gd name="T7" fmla="*/ 118 h 174"/>
              <a:gd name="T8" fmla="*/ 828 w 1141"/>
              <a:gd name="T9" fmla="*/ 96 h 174"/>
              <a:gd name="T10" fmla="*/ 737 w 1141"/>
              <a:gd name="T11" fmla="*/ 76 h 174"/>
              <a:gd name="T12" fmla="*/ 743 w 1141"/>
              <a:gd name="T13" fmla="*/ 93 h 174"/>
              <a:gd name="T14" fmla="*/ 794 w 1141"/>
              <a:gd name="T15" fmla="*/ 100 h 174"/>
              <a:gd name="T16" fmla="*/ 779 w 1141"/>
              <a:gd name="T17" fmla="*/ 174 h 174"/>
              <a:gd name="T18" fmla="*/ 198 w 1141"/>
              <a:gd name="T19" fmla="*/ 131 h 174"/>
              <a:gd name="T20" fmla="*/ 171 w 1141"/>
              <a:gd name="T21" fmla="*/ 148 h 174"/>
              <a:gd name="T22" fmla="*/ 165 w 1141"/>
              <a:gd name="T23" fmla="*/ 163 h 174"/>
              <a:gd name="T24" fmla="*/ 246 w 1141"/>
              <a:gd name="T25" fmla="*/ 139 h 174"/>
              <a:gd name="T26" fmla="*/ 214 w 1141"/>
              <a:gd name="T27" fmla="*/ 87 h 174"/>
              <a:gd name="T28" fmla="*/ 243 w 1141"/>
              <a:gd name="T29" fmla="*/ 75 h 174"/>
              <a:gd name="T30" fmla="*/ 165 w 1141"/>
              <a:gd name="T31" fmla="*/ 98 h 174"/>
              <a:gd name="T32" fmla="*/ 41 w 1141"/>
              <a:gd name="T33" fmla="*/ 72 h 174"/>
              <a:gd name="T34" fmla="*/ 66 w 1141"/>
              <a:gd name="T35" fmla="*/ 0 h 174"/>
              <a:gd name="T36" fmla="*/ 794 w 1141"/>
              <a:gd name="T37" fmla="*/ 152 h 174"/>
              <a:gd name="T38" fmla="*/ 794 w 1141"/>
              <a:gd name="T39" fmla="*/ 123 h 174"/>
              <a:gd name="T40" fmla="*/ 954 w 1141"/>
              <a:gd name="T41" fmla="*/ 98 h 174"/>
              <a:gd name="T42" fmla="*/ 987 w 1141"/>
              <a:gd name="T43" fmla="*/ 114 h 174"/>
              <a:gd name="T44" fmla="*/ 653 w 1141"/>
              <a:gd name="T45" fmla="*/ 151 h 174"/>
              <a:gd name="T46" fmla="*/ 619 w 1141"/>
              <a:gd name="T47" fmla="*/ 71 h 174"/>
              <a:gd name="T48" fmla="*/ 590 w 1141"/>
              <a:gd name="T49" fmla="*/ 71 h 174"/>
              <a:gd name="T50" fmla="*/ 502 w 1141"/>
              <a:gd name="T51" fmla="*/ 33 h 174"/>
              <a:gd name="T52" fmla="*/ 471 w 1141"/>
              <a:gd name="T53" fmla="*/ 68 h 174"/>
              <a:gd name="T54" fmla="*/ 437 w 1141"/>
              <a:gd name="T55" fmla="*/ 46 h 174"/>
              <a:gd name="T56" fmla="*/ 452 w 1141"/>
              <a:gd name="T57" fmla="*/ 45 h 174"/>
              <a:gd name="T58" fmla="*/ 426 w 1141"/>
              <a:gd name="T59" fmla="*/ 23 h 174"/>
              <a:gd name="T60" fmla="*/ 373 w 1141"/>
              <a:gd name="T61" fmla="*/ 71 h 174"/>
              <a:gd name="T62" fmla="*/ 391 w 1141"/>
              <a:gd name="T63" fmla="*/ 169 h 174"/>
              <a:gd name="T64" fmla="*/ 425 w 1141"/>
              <a:gd name="T65" fmla="*/ 91 h 174"/>
              <a:gd name="T66" fmla="*/ 533 w 1141"/>
              <a:gd name="T67" fmla="*/ 169 h 174"/>
              <a:gd name="T68" fmla="*/ 531 w 1141"/>
              <a:gd name="T69" fmla="*/ 148 h 174"/>
              <a:gd name="T70" fmla="*/ 505 w 1141"/>
              <a:gd name="T71" fmla="*/ 137 h 174"/>
              <a:gd name="T72" fmla="*/ 573 w 1141"/>
              <a:gd name="T73" fmla="*/ 170 h 174"/>
              <a:gd name="T74" fmla="*/ 715 w 1141"/>
              <a:gd name="T75" fmla="*/ 144 h 174"/>
              <a:gd name="T76" fmla="*/ 682 w 1141"/>
              <a:gd name="T77" fmla="*/ 71 h 174"/>
              <a:gd name="T78" fmla="*/ 908 w 1141"/>
              <a:gd name="T79" fmla="*/ 66 h 174"/>
              <a:gd name="T80" fmla="*/ 852 w 1141"/>
              <a:gd name="T81" fmla="*/ 169 h 174"/>
              <a:gd name="T82" fmla="*/ 886 w 1141"/>
              <a:gd name="T83" fmla="*/ 92 h 174"/>
              <a:gd name="T84" fmla="*/ 313 w 1141"/>
              <a:gd name="T85" fmla="*/ 174 h 174"/>
              <a:gd name="T86" fmla="*/ 296 w 1141"/>
              <a:gd name="T87" fmla="*/ 120 h 174"/>
              <a:gd name="T88" fmla="*/ 296 w 1141"/>
              <a:gd name="T89" fmla="*/ 120 h 174"/>
              <a:gd name="T90" fmla="*/ 1064 w 1141"/>
              <a:gd name="T91" fmla="*/ 92 h 174"/>
              <a:gd name="T92" fmla="*/ 1125 w 1141"/>
              <a:gd name="T93" fmla="*/ 106 h 174"/>
              <a:gd name="T94" fmla="*/ 1138 w 1141"/>
              <a:gd name="T95" fmla="*/ 76 h 174"/>
              <a:gd name="T96" fmla="*/ 1141 w 1141"/>
              <a:gd name="T97" fmla="*/ 71 h 174"/>
              <a:gd name="T98" fmla="*/ 1125 w 1141"/>
              <a:gd name="T99" fmla="*/ 113 h 174"/>
              <a:gd name="T100" fmla="*/ 1141 w 1141"/>
              <a:gd name="T101" fmla="*/ 88 h 174"/>
              <a:gd name="T102" fmla="*/ 1123 w 1141"/>
              <a:gd name="T103" fmla="*/ 94 h 174"/>
              <a:gd name="T104" fmla="*/ 1062 w 1141"/>
              <a:gd name="T105" fmla="*/ 68 h 174"/>
              <a:gd name="T106" fmla="*/ 1048 w 1141"/>
              <a:gd name="T107" fmla="*/ 112 h 174"/>
              <a:gd name="T108" fmla="*/ 1080 w 1141"/>
              <a:gd name="T109" fmla="*/ 99 h 174"/>
              <a:gd name="T110" fmla="*/ 1094 w 1141"/>
              <a:gd name="T111" fmla="*/ 112 h 174"/>
              <a:gd name="T112" fmla="*/ 70 w 1141"/>
              <a:gd name="T113" fmla="*/ 68 h 174"/>
              <a:gd name="T114" fmla="*/ 21 w 1141"/>
              <a:gd name="T115" fmla="*/ 172 h 174"/>
              <a:gd name="T116" fmla="*/ 70 w 1141"/>
              <a:gd name="T117" fmla="*/ 6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41" h="174">
                <a:moveTo>
                  <a:pt x="919" y="120"/>
                </a:moveTo>
                <a:cubicBezTo>
                  <a:pt x="919" y="160"/>
                  <a:pt x="937" y="174"/>
                  <a:pt x="975" y="174"/>
                </a:cubicBezTo>
                <a:cubicBezTo>
                  <a:pt x="992" y="174"/>
                  <a:pt x="1006" y="169"/>
                  <a:pt x="1012" y="167"/>
                </a:cubicBezTo>
                <a:cubicBezTo>
                  <a:pt x="1014" y="167"/>
                  <a:pt x="1015" y="165"/>
                  <a:pt x="1015" y="164"/>
                </a:cubicBezTo>
                <a:cubicBezTo>
                  <a:pt x="1015" y="163"/>
                  <a:pt x="1015" y="163"/>
                  <a:pt x="1015" y="162"/>
                </a:cubicBezTo>
                <a:cubicBezTo>
                  <a:pt x="1012" y="151"/>
                  <a:pt x="1012" y="151"/>
                  <a:pt x="1012" y="151"/>
                </a:cubicBezTo>
                <a:cubicBezTo>
                  <a:pt x="1012" y="151"/>
                  <a:pt x="1012" y="151"/>
                  <a:pt x="1012" y="151"/>
                </a:cubicBezTo>
                <a:cubicBezTo>
                  <a:pt x="1011" y="148"/>
                  <a:pt x="1010" y="148"/>
                  <a:pt x="1008" y="148"/>
                </a:cubicBezTo>
                <a:cubicBezTo>
                  <a:pt x="1008" y="148"/>
                  <a:pt x="1007" y="148"/>
                  <a:pt x="1006" y="148"/>
                </a:cubicBezTo>
                <a:cubicBezTo>
                  <a:pt x="1006" y="148"/>
                  <a:pt x="1006" y="148"/>
                  <a:pt x="1006" y="148"/>
                </a:cubicBezTo>
                <a:cubicBezTo>
                  <a:pt x="1001" y="150"/>
                  <a:pt x="992" y="152"/>
                  <a:pt x="981" y="152"/>
                </a:cubicBezTo>
                <a:cubicBezTo>
                  <a:pt x="973" y="152"/>
                  <a:pt x="966" y="151"/>
                  <a:pt x="962" y="149"/>
                </a:cubicBezTo>
                <a:cubicBezTo>
                  <a:pt x="957" y="146"/>
                  <a:pt x="954" y="141"/>
                  <a:pt x="954" y="133"/>
                </a:cubicBezTo>
                <a:cubicBezTo>
                  <a:pt x="1015" y="133"/>
                  <a:pt x="1015" y="133"/>
                  <a:pt x="1015" y="133"/>
                </a:cubicBezTo>
                <a:cubicBezTo>
                  <a:pt x="1019" y="133"/>
                  <a:pt x="1019" y="130"/>
                  <a:pt x="1019" y="127"/>
                </a:cubicBezTo>
                <a:cubicBezTo>
                  <a:pt x="1019" y="118"/>
                  <a:pt x="1019" y="118"/>
                  <a:pt x="1019" y="118"/>
                </a:cubicBezTo>
                <a:cubicBezTo>
                  <a:pt x="1019" y="100"/>
                  <a:pt x="1016" y="86"/>
                  <a:pt x="1009" y="78"/>
                </a:cubicBezTo>
                <a:cubicBezTo>
                  <a:pt x="1001" y="70"/>
                  <a:pt x="988" y="66"/>
                  <a:pt x="970" y="66"/>
                </a:cubicBezTo>
                <a:cubicBezTo>
                  <a:pt x="932" y="66"/>
                  <a:pt x="919" y="80"/>
                  <a:pt x="919" y="120"/>
                </a:cubicBezTo>
                <a:moveTo>
                  <a:pt x="828" y="96"/>
                </a:moveTo>
                <a:cubicBezTo>
                  <a:pt x="828" y="85"/>
                  <a:pt x="824" y="77"/>
                  <a:pt x="815" y="71"/>
                </a:cubicBezTo>
                <a:cubicBezTo>
                  <a:pt x="808" y="67"/>
                  <a:pt x="798" y="66"/>
                  <a:pt x="784" y="66"/>
                </a:cubicBezTo>
                <a:cubicBezTo>
                  <a:pt x="763" y="66"/>
                  <a:pt x="743" y="71"/>
                  <a:pt x="740" y="73"/>
                </a:cubicBezTo>
                <a:cubicBezTo>
                  <a:pt x="738" y="73"/>
                  <a:pt x="737" y="74"/>
                  <a:pt x="737" y="76"/>
                </a:cubicBezTo>
                <a:cubicBezTo>
                  <a:pt x="737" y="76"/>
                  <a:pt x="737" y="76"/>
                  <a:pt x="737" y="76"/>
                </a:cubicBezTo>
                <a:cubicBezTo>
                  <a:pt x="737" y="76"/>
                  <a:pt x="737" y="77"/>
                  <a:pt x="737" y="77"/>
                </a:cubicBezTo>
                <a:cubicBezTo>
                  <a:pt x="741" y="92"/>
                  <a:pt x="741" y="92"/>
                  <a:pt x="741" y="92"/>
                </a:cubicBezTo>
                <a:cubicBezTo>
                  <a:pt x="741" y="93"/>
                  <a:pt x="742" y="93"/>
                  <a:pt x="743" y="93"/>
                </a:cubicBezTo>
                <a:cubicBezTo>
                  <a:pt x="743" y="93"/>
                  <a:pt x="743" y="93"/>
                  <a:pt x="744" y="93"/>
                </a:cubicBezTo>
                <a:cubicBezTo>
                  <a:pt x="748" y="92"/>
                  <a:pt x="764" y="88"/>
                  <a:pt x="776" y="88"/>
                </a:cubicBezTo>
                <a:cubicBezTo>
                  <a:pt x="783" y="88"/>
                  <a:pt x="787" y="88"/>
                  <a:pt x="790" y="89"/>
                </a:cubicBezTo>
                <a:cubicBezTo>
                  <a:pt x="793" y="91"/>
                  <a:pt x="794" y="94"/>
                  <a:pt x="794" y="100"/>
                </a:cubicBezTo>
                <a:cubicBezTo>
                  <a:pt x="794" y="104"/>
                  <a:pt x="794" y="104"/>
                  <a:pt x="794" y="104"/>
                </a:cubicBezTo>
                <a:cubicBezTo>
                  <a:pt x="760" y="109"/>
                  <a:pt x="760" y="109"/>
                  <a:pt x="760" y="109"/>
                </a:cubicBezTo>
                <a:cubicBezTo>
                  <a:pt x="747" y="111"/>
                  <a:pt x="731" y="115"/>
                  <a:pt x="731" y="140"/>
                </a:cubicBezTo>
                <a:cubicBezTo>
                  <a:pt x="731" y="170"/>
                  <a:pt x="755" y="174"/>
                  <a:pt x="779" y="174"/>
                </a:cubicBezTo>
                <a:cubicBezTo>
                  <a:pt x="791" y="174"/>
                  <a:pt x="800" y="173"/>
                  <a:pt x="808" y="171"/>
                </a:cubicBezTo>
                <a:cubicBezTo>
                  <a:pt x="821" y="168"/>
                  <a:pt x="828" y="166"/>
                  <a:pt x="828" y="151"/>
                </a:cubicBezTo>
                <a:lnTo>
                  <a:pt x="828" y="96"/>
                </a:lnTo>
                <a:close/>
                <a:moveTo>
                  <a:pt x="198" y="131"/>
                </a:moveTo>
                <a:cubicBezTo>
                  <a:pt x="208" y="133"/>
                  <a:pt x="212" y="134"/>
                  <a:pt x="212" y="142"/>
                </a:cubicBezTo>
                <a:cubicBezTo>
                  <a:pt x="212" y="150"/>
                  <a:pt x="205" y="152"/>
                  <a:pt x="198" y="152"/>
                </a:cubicBezTo>
                <a:cubicBezTo>
                  <a:pt x="188" y="152"/>
                  <a:pt x="176" y="149"/>
                  <a:pt x="171" y="148"/>
                </a:cubicBezTo>
                <a:cubicBezTo>
                  <a:pt x="171" y="148"/>
                  <a:pt x="171" y="148"/>
                  <a:pt x="171" y="148"/>
                </a:cubicBezTo>
                <a:cubicBezTo>
                  <a:pt x="171" y="148"/>
                  <a:pt x="171" y="148"/>
                  <a:pt x="171" y="148"/>
                </a:cubicBezTo>
                <a:cubicBezTo>
                  <a:pt x="170" y="148"/>
                  <a:pt x="169" y="148"/>
                  <a:pt x="169" y="148"/>
                </a:cubicBezTo>
                <a:cubicBezTo>
                  <a:pt x="168" y="148"/>
                  <a:pt x="167" y="148"/>
                  <a:pt x="167" y="150"/>
                </a:cubicBezTo>
                <a:cubicBezTo>
                  <a:pt x="165" y="163"/>
                  <a:pt x="165" y="163"/>
                  <a:pt x="165" y="163"/>
                </a:cubicBezTo>
                <a:cubicBezTo>
                  <a:pt x="164" y="164"/>
                  <a:pt x="164" y="165"/>
                  <a:pt x="164" y="165"/>
                </a:cubicBezTo>
                <a:cubicBezTo>
                  <a:pt x="164" y="167"/>
                  <a:pt x="165" y="167"/>
                  <a:pt x="166" y="168"/>
                </a:cubicBezTo>
                <a:cubicBezTo>
                  <a:pt x="170" y="170"/>
                  <a:pt x="186" y="174"/>
                  <a:pt x="203" y="174"/>
                </a:cubicBezTo>
                <a:cubicBezTo>
                  <a:pt x="227" y="174"/>
                  <a:pt x="246" y="165"/>
                  <a:pt x="246" y="139"/>
                </a:cubicBezTo>
                <a:cubicBezTo>
                  <a:pt x="246" y="115"/>
                  <a:pt x="232" y="110"/>
                  <a:pt x="218" y="108"/>
                </a:cubicBezTo>
                <a:cubicBezTo>
                  <a:pt x="215" y="107"/>
                  <a:pt x="215" y="107"/>
                  <a:pt x="215" y="107"/>
                </a:cubicBezTo>
                <a:cubicBezTo>
                  <a:pt x="207" y="106"/>
                  <a:pt x="200" y="104"/>
                  <a:pt x="200" y="96"/>
                </a:cubicBezTo>
                <a:cubicBezTo>
                  <a:pt x="200" y="88"/>
                  <a:pt x="208" y="87"/>
                  <a:pt x="214" y="87"/>
                </a:cubicBezTo>
                <a:cubicBezTo>
                  <a:pt x="222" y="87"/>
                  <a:pt x="230" y="88"/>
                  <a:pt x="234" y="89"/>
                </a:cubicBezTo>
                <a:cubicBezTo>
                  <a:pt x="236" y="90"/>
                  <a:pt x="237" y="90"/>
                  <a:pt x="238" y="90"/>
                </a:cubicBezTo>
                <a:cubicBezTo>
                  <a:pt x="239" y="90"/>
                  <a:pt x="240" y="89"/>
                  <a:pt x="240" y="88"/>
                </a:cubicBezTo>
                <a:cubicBezTo>
                  <a:pt x="241" y="83"/>
                  <a:pt x="242" y="79"/>
                  <a:pt x="243" y="75"/>
                </a:cubicBezTo>
                <a:cubicBezTo>
                  <a:pt x="243" y="75"/>
                  <a:pt x="243" y="74"/>
                  <a:pt x="243" y="73"/>
                </a:cubicBezTo>
                <a:cubicBezTo>
                  <a:pt x="243" y="71"/>
                  <a:pt x="242" y="70"/>
                  <a:pt x="239" y="69"/>
                </a:cubicBezTo>
                <a:cubicBezTo>
                  <a:pt x="234" y="68"/>
                  <a:pt x="222" y="66"/>
                  <a:pt x="209" y="66"/>
                </a:cubicBezTo>
                <a:cubicBezTo>
                  <a:pt x="191" y="66"/>
                  <a:pt x="165" y="68"/>
                  <a:pt x="165" y="98"/>
                </a:cubicBezTo>
                <a:cubicBezTo>
                  <a:pt x="165" y="124"/>
                  <a:pt x="183" y="128"/>
                  <a:pt x="196" y="131"/>
                </a:cubicBezTo>
                <a:lnTo>
                  <a:pt x="198" y="131"/>
                </a:lnTo>
                <a:close/>
                <a:moveTo>
                  <a:pt x="41" y="106"/>
                </a:moveTo>
                <a:cubicBezTo>
                  <a:pt x="41" y="72"/>
                  <a:pt x="41" y="72"/>
                  <a:pt x="41" y="72"/>
                </a:cubicBezTo>
                <a:cubicBezTo>
                  <a:pt x="41" y="50"/>
                  <a:pt x="50" y="40"/>
                  <a:pt x="70" y="40"/>
                </a:cubicBezTo>
                <a:cubicBezTo>
                  <a:pt x="84" y="40"/>
                  <a:pt x="84" y="40"/>
                  <a:pt x="84" y="40"/>
                </a:cubicBezTo>
                <a:cubicBezTo>
                  <a:pt x="89" y="0"/>
                  <a:pt x="89" y="0"/>
                  <a:pt x="89" y="0"/>
                </a:cubicBezTo>
                <a:cubicBezTo>
                  <a:pt x="66" y="0"/>
                  <a:pt x="66" y="0"/>
                  <a:pt x="66" y="0"/>
                </a:cubicBezTo>
                <a:cubicBezTo>
                  <a:pt x="26" y="0"/>
                  <a:pt x="0" y="29"/>
                  <a:pt x="0" y="69"/>
                </a:cubicBezTo>
                <a:cubicBezTo>
                  <a:pt x="0" y="106"/>
                  <a:pt x="0" y="106"/>
                  <a:pt x="0" y="106"/>
                </a:cubicBezTo>
                <a:lnTo>
                  <a:pt x="41" y="106"/>
                </a:lnTo>
                <a:close/>
                <a:moveTo>
                  <a:pt x="794" y="152"/>
                </a:moveTo>
                <a:cubicBezTo>
                  <a:pt x="793" y="152"/>
                  <a:pt x="787" y="153"/>
                  <a:pt x="780" y="153"/>
                </a:cubicBezTo>
                <a:cubicBezTo>
                  <a:pt x="773" y="153"/>
                  <a:pt x="763" y="152"/>
                  <a:pt x="763" y="139"/>
                </a:cubicBezTo>
                <a:cubicBezTo>
                  <a:pt x="763" y="128"/>
                  <a:pt x="769" y="127"/>
                  <a:pt x="776" y="126"/>
                </a:cubicBezTo>
                <a:cubicBezTo>
                  <a:pt x="794" y="123"/>
                  <a:pt x="794" y="123"/>
                  <a:pt x="794" y="123"/>
                </a:cubicBezTo>
                <a:lnTo>
                  <a:pt x="794" y="152"/>
                </a:lnTo>
                <a:close/>
                <a:moveTo>
                  <a:pt x="953" y="114"/>
                </a:moveTo>
                <a:cubicBezTo>
                  <a:pt x="953" y="112"/>
                  <a:pt x="953" y="112"/>
                  <a:pt x="953" y="112"/>
                </a:cubicBezTo>
                <a:cubicBezTo>
                  <a:pt x="953" y="109"/>
                  <a:pt x="953" y="103"/>
                  <a:pt x="954" y="98"/>
                </a:cubicBezTo>
                <a:cubicBezTo>
                  <a:pt x="956" y="92"/>
                  <a:pt x="959" y="87"/>
                  <a:pt x="970" y="87"/>
                </a:cubicBezTo>
                <a:cubicBezTo>
                  <a:pt x="979" y="87"/>
                  <a:pt x="984" y="91"/>
                  <a:pt x="986" y="97"/>
                </a:cubicBezTo>
                <a:cubicBezTo>
                  <a:pt x="987" y="101"/>
                  <a:pt x="987" y="107"/>
                  <a:pt x="987" y="111"/>
                </a:cubicBezTo>
                <a:cubicBezTo>
                  <a:pt x="987" y="114"/>
                  <a:pt x="987" y="114"/>
                  <a:pt x="987" y="114"/>
                </a:cubicBezTo>
                <a:lnTo>
                  <a:pt x="953" y="114"/>
                </a:lnTo>
                <a:close/>
                <a:moveTo>
                  <a:pt x="682" y="139"/>
                </a:moveTo>
                <a:cubicBezTo>
                  <a:pt x="682" y="150"/>
                  <a:pt x="675" y="153"/>
                  <a:pt x="667" y="153"/>
                </a:cubicBezTo>
                <a:cubicBezTo>
                  <a:pt x="660" y="153"/>
                  <a:pt x="653" y="151"/>
                  <a:pt x="653" y="151"/>
                </a:cubicBezTo>
                <a:cubicBezTo>
                  <a:pt x="653" y="71"/>
                  <a:pt x="653" y="71"/>
                  <a:pt x="653" y="71"/>
                </a:cubicBezTo>
                <a:cubicBezTo>
                  <a:pt x="653" y="69"/>
                  <a:pt x="652" y="68"/>
                  <a:pt x="650" y="68"/>
                </a:cubicBezTo>
                <a:cubicBezTo>
                  <a:pt x="621" y="68"/>
                  <a:pt x="621" y="68"/>
                  <a:pt x="621" y="68"/>
                </a:cubicBezTo>
                <a:cubicBezTo>
                  <a:pt x="620" y="68"/>
                  <a:pt x="619" y="69"/>
                  <a:pt x="619" y="71"/>
                </a:cubicBezTo>
                <a:cubicBezTo>
                  <a:pt x="619" y="139"/>
                  <a:pt x="619" y="139"/>
                  <a:pt x="619" y="139"/>
                </a:cubicBezTo>
                <a:cubicBezTo>
                  <a:pt x="619" y="150"/>
                  <a:pt x="615" y="153"/>
                  <a:pt x="607" y="153"/>
                </a:cubicBezTo>
                <a:cubicBezTo>
                  <a:pt x="600" y="153"/>
                  <a:pt x="590" y="151"/>
                  <a:pt x="590" y="151"/>
                </a:cubicBezTo>
                <a:cubicBezTo>
                  <a:pt x="590" y="71"/>
                  <a:pt x="590" y="71"/>
                  <a:pt x="590" y="71"/>
                </a:cubicBezTo>
                <a:cubicBezTo>
                  <a:pt x="590" y="69"/>
                  <a:pt x="589" y="68"/>
                  <a:pt x="587" y="68"/>
                </a:cubicBezTo>
                <a:cubicBezTo>
                  <a:pt x="505" y="68"/>
                  <a:pt x="505" y="68"/>
                  <a:pt x="505" y="68"/>
                </a:cubicBezTo>
                <a:cubicBezTo>
                  <a:pt x="505" y="36"/>
                  <a:pt x="505" y="36"/>
                  <a:pt x="505" y="36"/>
                </a:cubicBezTo>
                <a:cubicBezTo>
                  <a:pt x="505" y="34"/>
                  <a:pt x="504" y="33"/>
                  <a:pt x="502" y="33"/>
                </a:cubicBezTo>
                <a:cubicBezTo>
                  <a:pt x="501" y="33"/>
                  <a:pt x="500" y="33"/>
                  <a:pt x="500" y="33"/>
                </a:cubicBezTo>
                <a:cubicBezTo>
                  <a:pt x="475" y="37"/>
                  <a:pt x="475" y="37"/>
                  <a:pt x="475" y="37"/>
                </a:cubicBezTo>
                <a:cubicBezTo>
                  <a:pt x="472" y="38"/>
                  <a:pt x="471" y="40"/>
                  <a:pt x="471" y="42"/>
                </a:cubicBezTo>
                <a:cubicBezTo>
                  <a:pt x="471" y="68"/>
                  <a:pt x="471" y="68"/>
                  <a:pt x="471" y="68"/>
                </a:cubicBezTo>
                <a:cubicBezTo>
                  <a:pt x="425" y="68"/>
                  <a:pt x="425" y="68"/>
                  <a:pt x="425" y="68"/>
                </a:cubicBezTo>
                <a:cubicBezTo>
                  <a:pt x="425" y="57"/>
                  <a:pt x="425" y="57"/>
                  <a:pt x="425" y="57"/>
                </a:cubicBezTo>
                <a:cubicBezTo>
                  <a:pt x="425" y="53"/>
                  <a:pt x="426" y="50"/>
                  <a:pt x="427" y="49"/>
                </a:cubicBezTo>
                <a:cubicBezTo>
                  <a:pt x="430" y="47"/>
                  <a:pt x="432" y="46"/>
                  <a:pt x="437" y="46"/>
                </a:cubicBezTo>
                <a:cubicBezTo>
                  <a:pt x="440" y="46"/>
                  <a:pt x="445" y="47"/>
                  <a:pt x="447" y="47"/>
                </a:cubicBezTo>
                <a:cubicBezTo>
                  <a:pt x="447" y="47"/>
                  <a:pt x="448" y="47"/>
                  <a:pt x="448" y="47"/>
                </a:cubicBezTo>
                <a:cubicBezTo>
                  <a:pt x="449" y="48"/>
                  <a:pt x="450" y="48"/>
                  <a:pt x="451" y="48"/>
                </a:cubicBezTo>
                <a:cubicBezTo>
                  <a:pt x="452" y="48"/>
                  <a:pt x="452" y="47"/>
                  <a:pt x="452" y="45"/>
                </a:cubicBezTo>
                <a:cubicBezTo>
                  <a:pt x="455" y="31"/>
                  <a:pt x="455" y="31"/>
                  <a:pt x="455" y="31"/>
                </a:cubicBezTo>
                <a:cubicBezTo>
                  <a:pt x="455" y="31"/>
                  <a:pt x="455" y="30"/>
                  <a:pt x="455" y="29"/>
                </a:cubicBezTo>
                <a:cubicBezTo>
                  <a:pt x="455" y="28"/>
                  <a:pt x="454" y="27"/>
                  <a:pt x="453" y="26"/>
                </a:cubicBezTo>
                <a:cubicBezTo>
                  <a:pt x="450" y="26"/>
                  <a:pt x="441" y="23"/>
                  <a:pt x="426" y="23"/>
                </a:cubicBezTo>
                <a:cubicBezTo>
                  <a:pt x="402" y="23"/>
                  <a:pt x="391" y="34"/>
                  <a:pt x="391" y="55"/>
                </a:cubicBezTo>
                <a:cubicBezTo>
                  <a:pt x="391" y="68"/>
                  <a:pt x="391" y="68"/>
                  <a:pt x="391" y="68"/>
                </a:cubicBezTo>
                <a:cubicBezTo>
                  <a:pt x="376" y="68"/>
                  <a:pt x="376" y="68"/>
                  <a:pt x="376" y="68"/>
                </a:cubicBezTo>
                <a:cubicBezTo>
                  <a:pt x="374" y="68"/>
                  <a:pt x="373" y="69"/>
                  <a:pt x="373" y="71"/>
                </a:cubicBezTo>
                <a:cubicBezTo>
                  <a:pt x="373" y="89"/>
                  <a:pt x="373" y="89"/>
                  <a:pt x="373" y="89"/>
                </a:cubicBezTo>
                <a:cubicBezTo>
                  <a:pt x="373" y="90"/>
                  <a:pt x="374" y="91"/>
                  <a:pt x="376" y="91"/>
                </a:cubicBezTo>
                <a:cubicBezTo>
                  <a:pt x="391" y="91"/>
                  <a:pt x="391" y="91"/>
                  <a:pt x="391" y="91"/>
                </a:cubicBezTo>
                <a:cubicBezTo>
                  <a:pt x="391" y="169"/>
                  <a:pt x="391" y="169"/>
                  <a:pt x="391" y="169"/>
                </a:cubicBezTo>
                <a:cubicBezTo>
                  <a:pt x="391" y="170"/>
                  <a:pt x="392" y="171"/>
                  <a:pt x="393" y="171"/>
                </a:cubicBezTo>
                <a:cubicBezTo>
                  <a:pt x="422" y="171"/>
                  <a:pt x="422" y="171"/>
                  <a:pt x="422" y="171"/>
                </a:cubicBezTo>
                <a:cubicBezTo>
                  <a:pt x="424" y="171"/>
                  <a:pt x="425" y="170"/>
                  <a:pt x="425" y="169"/>
                </a:cubicBezTo>
                <a:cubicBezTo>
                  <a:pt x="425" y="91"/>
                  <a:pt x="425" y="91"/>
                  <a:pt x="425" y="91"/>
                </a:cubicBezTo>
                <a:cubicBezTo>
                  <a:pt x="471" y="91"/>
                  <a:pt x="471" y="91"/>
                  <a:pt x="471" y="91"/>
                </a:cubicBezTo>
                <a:cubicBezTo>
                  <a:pt x="471" y="139"/>
                  <a:pt x="471" y="139"/>
                  <a:pt x="471" y="139"/>
                </a:cubicBezTo>
                <a:cubicBezTo>
                  <a:pt x="471" y="164"/>
                  <a:pt x="484" y="173"/>
                  <a:pt x="508" y="173"/>
                </a:cubicBezTo>
                <a:cubicBezTo>
                  <a:pt x="522" y="173"/>
                  <a:pt x="531" y="170"/>
                  <a:pt x="533" y="169"/>
                </a:cubicBezTo>
                <a:cubicBezTo>
                  <a:pt x="535" y="169"/>
                  <a:pt x="536" y="168"/>
                  <a:pt x="536" y="166"/>
                </a:cubicBezTo>
                <a:cubicBezTo>
                  <a:pt x="536" y="165"/>
                  <a:pt x="536" y="164"/>
                  <a:pt x="536" y="164"/>
                </a:cubicBezTo>
                <a:cubicBezTo>
                  <a:pt x="533" y="150"/>
                  <a:pt x="533" y="150"/>
                  <a:pt x="533" y="150"/>
                </a:cubicBezTo>
                <a:cubicBezTo>
                  <a:pt x="532" y="149"/>
                  <a:pt x="532" y="148"/>
                  <a:pt x="531" y="148"/>
                </a:cubicBezTo>
                <a:cubicBezTo>
                  <a:pt x="531" y="148"/>
                  <a:pt x="530" y="148"/>
                  <a:pt x="529" y="148"/>
                </a:cubicBezTo>
                <a:cubicBezTo>
                  <a:pt x="529" y="148"/>
                  <a:pt x="529" y="148"/>
                  <a:pt x="528" y="148"/>
                </a:cubicBezTo>
                <a:cubicBezTo>
                  <a:pt x="526" y="149"/>
                  <a:pt x="522" y="149"/>
                  <a:pt x="517" y="149"/>
                </a:cubicBezTo>
                <a:cubicBezTo>
                  <a:pt x="507" y="149"/>
                  <a:pt x="505" y="144"/>
                  <a:pt x="505" y="137"/>
                </a:cubicBezTo>
                <a:cubicBezTo>
                  <a:pt x="505" y="92"/>
                  <a:pt x="505" y="92"/>
                  <a:pt x="505" y="92"/>
                </a:cubicBezTo>
                <a:cubicBezTo>
                  <a:pt x="556" y="92"/>
                  <a:pt x="556" y="92"/>
                  <a:pt x="556" y="92"/>
                </a:cubicBezTo>
                <a:cubicBezTo>
                  <a:pt x="556" y="159"/>
                  <a:pt x="556" y="159"/>
                  <a:pt x="556" y="159"/>
                </a:cubicBezTo>
                <a:cubicBezTo>
                  <a:pt x="556" y="165"/>
                  <a:pt x="562" y="168"/>
                  <a:pt x="573" y="170"/>
                </a:cubicBezTo>
                <a:cubicBezTo>
                  <a:pt x="582" y="172"/>
                  <a:pt x="594" y="174"/>
                  <a:pt x="604" y="174"/>
                </a:cubicBezTo>
                <a:cubicBezTo>
                  <a:pt x="616" y="174"/>
                  <a:pt x="628" y="172"/>
                  <a:pt x="637" y="165"/>
                </a:cubicBezTo>
                <a:cubicBezTo>
                  <a:pt x="649" y="172"/>
                  <a:pt x="662" y="174"/>
                  <a:pt x="675" y="174"/>
                </a:cubicBezTo>
                <a:cubicBezTo>
                  <a:pt x="699" y="174"/>
                  <a:pt x="715" y="168"/>
                  <a:pt x="715" y="144"/>
                </a:cubicBezTo>
                <a:cubicBezTo>
                  <a:pt x="715" y="71"/>
                  <a:pt x="715" y="71"/>
                  <a:pt x="715" y="71"/>
                </a:cubicBezTo>
                <a:cubicBezTo>
                  <a:pt x="715" y="69"/>
                  <a:pt x="714" y="68"/>
                  <a:pt x="713" y="68"/>
                </a:cubicBezTo>
                <a:cubicBezTo>
                  <a:pt x="684" y="68"/>
                  <a:pt x="684" y="68"/>
                  <a:pt x="684" y="68"/>
                </a:cubicBezTo>
                <a:cubicBezTo>
                  <a:pt x="683" y="68"/>
                  <a:pt x="682" y="69"/>
                  <a:pt x="682" y="71"/>
                </a:cubicBezTo>
                <a:lnTo>
                  <a:pt x="682" y="139"/>
                </a:lnTo>
                <a:close/>
                <a:moveTo>
                  <a:pt x="912" y="86"/>
                </a:moveTo>
                <a:cubicBezTo>
                  <a:pt x="912" y="70"/>
                  <a:pt x="912" y="70"/>
                  <a:pt x="912" y="70"/>
                </a:cubicBezTo>
                <a:cubicBezTo>
                  <a:pt x="912" y="67"/>
                  <a:pt x="911" y="66"/>
                  <a:pt x="908" y="66"/>
                </a:cubicBezTo>
                <a:cubicBezTo>
                  <a:pt x="905" y="66"/>
                  <a:pt x="905" y="66"/>
                  <a:pt x="905" y="66"/>
                </a:cubicBezTo>
                <a:cubicBezTo>
                  <a:pt x="893" y="66"/>
                  <a:pt x="879" y="67"/>
                  <a:pt x="870" y="69"/>
                </a:cubicBezTo>
                <a:cubicBezTo>
                  <a:pt x="858" y="72"/>
                  <a:pt x="852" y="74"/>
                  <a:pt x="852" y="81"/>
                </a:cubicBezTo>
                <a:cubicBezTo>
                  <a:pt x="852" y="169"/>
                  <a:pt x="852" y="169"/>
                  <a:pt x="852" y="169"/>
                </a:cubicBezTo>
                <a:cubicBezTo>
                  <a:pt x="852" y="170"/>
                  <a:pt x="853" y="171"/>
                  <a:pt x="855" y="171"/>
                </a:cubicBezTo>
                <a:cubicBezTo>
                  <a:pt x="884" y="171"/>
                  <a:pt x="884" y="171"/>
                  <a:pt x="884" y="171"/>
                </a:cubicBezTo>
                <a:cubicBezTo>
                  <a:pt x="885" y="171"/>
                  <a:pt x="886" y="170"/>
                  <a:pt x="886" y="169"/>
                </a:cubicBezTo>
                <a:cubicBezTo>
                  <a:pt x="886" y="92"/>
                  <a:pt x="886" y="92"/>
                  <a:pt x="886" y="92"/>
                </a:cubicBezTo>
                <a:cubicBezTo>
                  <a:pt x="888" y="91"/>
                  <a:pt x="897" y="90"/>
                  <a:pt x="909" y="90"/>
                </a:cubicBezTo>
                <a:cubicBezTo>
                  <a:pt x="912" y="90"/>
                  <a:pt x="912" y="88"/>
                  <a:pt x="912" y="86"/>
                </a:cubicBezTo>
                <a:moveTo>
                  <a:pt x="261" y="120"/>
                </a:moveTo>
                <a:cubicBezTo>
                  <a:pt x="261" y="150"/>
                  <a:pt x="268" y="174"/>
                  <a:pt x="313" y="174"/>
                </a:cubicBezTo>
                <a:cubicBezTo>
                  <a:pt x="358" y="174"/>
                  <a:pt x="364" y="150"/>
                  <a:pt x="364" y="120"/>
                </a:cubicBezTo>
                <a:cubicBezTo>
                  <a:pt x="364" y="89"/>
                  <a:pt x="358" y="66"/>
                  <a:pt x="313" y="66"/>
                </a:cubicBezTo>
                <a:cubicBezTo>
                  <a:pt x="268" y="66"/>
                  <a:pt x="261" y="89"/>
                  <a:pt x="261" y="120"/>
                </a:cubicBezTo>
                <a:moveTo>
                  <a:pt x="296" y="120"/>
                </a:moveTo>
                <a:cubicBezTo>
                  <a:pt x="296" y="97"/>
                  <a:pt x="297" y="88"/>
                  <a:pt x="313" y="88"/>
                </a:cubicBezTo>
                <a:cubicBezTo>
                  <a:pt x="328" y="88"/>
                  <a:pt x="329" y="97"/>
                  <a:pt x="329" y="120"/>
                </a:cubicBezTo>
                <a:cubicBezTo>
                  <a:pt x="329" y="143"/>
                  <a:pt x="328" y="152"/>
                  <a:pt x="313" y="152"/>
                </a:cubicBezTo>
                <a:cubicBezTo>
                  <a:pt x="297" y="152"/>
                  <a:pt x="296" y="143"/>
                  <a:pt x="296" y="120"/>
                </a:cubicBezTo>
                <a:moveTo>
                  <a:pt x="1069" y="75"/>
                </a:moveTo>
                <a:cubicBezTo>
                  <a:pt x="1073" y="75"/>
                  <a:pt x="1073" y="75"/>
                  <a:pt x="1073" y="75"/>
                </a:cubicBezTo>
                <a:cubicBezTo>
                  <a:pt x="1078" y="92"/>
                  <a:pt x="1078" y="92"/>
                  <a:pt x="1078" y="92"/>
                </a:cubicBezTo>
                <a:cubicBezTo>
                  <a:pt x="1064" y="92"/>
                  <a:pt x="1064" y="92"/>
                  <a:pt x="1064" y="92"/>
                </a:cubicBezTo>
                <a:lnTo>
                  <a:pt x="1069" y="75"/>
                </a:lnTo>
                <a:close/>
                <a:moveTo>
                  <a:pt x="1131" y="95"/>
                </a:moveTo>
                <a:cubicBezTo>
                  <a:pt x="1131" y="106"/>
                  <a:pt x="1131" y="106"/>
                  <a:pt x="1131" y="106"/>
                </a:cubicBezTo>
                <a:cubicBezTo>
                  <a:pt x="1131" y="106"/>
                  <a:pt x="1128" y="106"/>
                  <a:pt x="1125" y="106"/>
                </a:cubicBezTo>
                <a:cubicBezTo>
                  <a:pt x="1117" y="106"/>
                  <a:pt x="1112" y="104"/>
                  <a:pt x="1112" y="91"/>
                </a:cubicBezTo>
                <a:cubicBezTo>
                  <a:pt x="1112" y="77"/>
                  <a:pt x="1117" y="75"/>
                  <a:pt x="1126" y="75"/>
                </a:cubicBezTo>
                <a:cubicBezTo>
                  <a:pt x="1130" y="75"/>
                  <a:pt x="1134" y="76"/>
                  <a:pt x="1137" y="76"/>
                </a:cubicBezTo>
                <a:cubicBezTo>
                  <a:pt x="1137" y="76"/>
                  <a:pt x="1138" y="76"/>
                  <a:pt x="1138" y="76"/>
                </a:cubicBezTo>
                <a:cubicBezTo>
                  <a:pt x="1138" y="76"/>
                  <a:pt x="1139" y="76"/>
                  <a:pt x="1139" y="76"/>
                </a:cubicBezTo>
                <a:cubicBezTo>
                  <a:pt x="1140" y="76"/>
                  <a:pt x="1140" y="76"/>
                  <a:pt x="1140" y="75"/>
                </a:cubicBezTo>
                <a:cubicBezTo>
                  <a:pt x="1141" y="72"/>
                  <a:pt x="1141" y="72"/>
                  <a:pt x="1141" y="72"/>
                </a:cubicBezTo>
                <a:cubicBezTo>
                  <a:pt x="1141" y="72"/>
                  <a:pt x="1141" y="71"/>
                  <a:pt x="1141" y="71"/>
                </a:cubicBezTo>
                <a:cubicBezTo>
                  <a:pt x="1141" y="70"/>
                  <a:pt x="1140" y="70"/>
                  <a:pt x="1140" y="70"/>
                </a:cubicBezTo>
                <a:cubicBezTo>
                  <a:pt x="1139" y="69"/>
                  <a:pt x="1132" y="67"/>
                  <a:pt x="1124" y="67"/>
                </a:cubicBezTo>
                <a:cubicBezTo>
                  <a:pt x="1108" y="67"/>
                  <a:pt x="1101" y="73"/>
                  <a:pt x="1101" y="90"/>
                </a:cubicBezTo>
                <a:cubicBezTo>
                  <a:pt x="1101" y="107"/>
                  <a:pt x="1107" y="113"/>
                  <a:pt x="1125" y="113"/>
                </a:cubicBezTo>
                <a:cubicBezTo>
                  <a:pt x="1129" y="113"/>
                  <a:pt x="1135" y="112"/>
                  <a:pt x="1137" y="112"/>
                </a:cubicBezTo>
                <a:cubicBezTo>
                  <a:pt x="1137" y="112"/>
                  <a:pt x="1137" y="112"/>
                  <a:pt x="1137" y="112"/>
                </a:cubicBezTo>
                <a:cubicBezTo>
                  <a:pt x="1140" y="111"/>
                  <a:pt x="1141" y="110"/>
                  <a:pt x="1141" y="107"/>
                </a:cubicBezTo>
                <a:cubicBezTo>
                  <a:pt x="1141" y="88"/>
                  <a:pt x="1141" y="88"/>
                  <a:pt x="1141" y="88"/>
                </a:cubicBezTo>
                <a:cubicBezTo>
                  <a:pt x="1141" y="88"/>
                  <a:pt x="1141" y="88"/>
                  <a:pt x="1140" y="88"/>
                </a:cubicBezTo>
                <a:cubicBezTo>
                  <a:pt x="1124" y="88"/>
                  <a:pt x="1124" y="88"/>
                  <a:pt x="1124" y="88"/>
                </a:cubicBezTo>
                <a:cubicBezTo>
                  <a:pt x="1123" y="88"/>
                  <a:pt x="1123" y="88"/>
                  <a:pt x="1123" y="88"/>
                </a:cubicBezTo>
                <a:cubicBezTo>
                  <a:pt x="1123" y="94"/>
                  <a:pt x="1123" y="94"/>
                  <a:pt x="1123" y="94"/>
                </a:cubicBezTo>
                <a:cubicBezTo>
                  <a:pt x="1123" y="94"/>
                  <a:pt x="1123" y="95"/>
                  <a:pt x="1124" y="95"/>
                </a:cubicBezTo>
                <a:lnTo>
                  <a:pt x="1131" y="95"/>
                </a:lnTo>
                <a:close/>
                <a:moveTo>
                  <a:pt x="1079" y="68"/>
                </a:moveTo>
                <a:cubicBezTo>
                  <a:pt x="1062" y="68"/>
                  <a:pt x="1062" y="68"/>
                  <a:pt x="1062" y="68"/>
                </a:cubicBezTo>
                <a:cubicBezTo>
                  <a:pt x="1062" y="68"/>
                  <a:pt x="1062" y="69"/>
                  <a:pt x="1062" y="69"/>
                </a:cubicBezTo>
                <a:cubicBezTo>
                  <a:pt x="1047" y="111"/>
                  <a:pt x="1047" y="111"/>
                  <a:pt x="1047" y="111"/>
                </a:cubicBezTo>
                <a:cubicBezTo>
                  <a:pt x="1047" y="111"/>
                  <a:pt x="1047" y="112"/>
                  <a:pt x="1047" y="112"/>
                </a:cubicBezTo>
                <a:cubicBezTo>
                  <a:pt x="1047" y="112"/>
                  <a:pt x="1047" y="112"/>
                  <a:pt x="1048" y="112"/>
                </a:cubicBezTo>
                <a:cubicBezTo>
                  <a:pt x="1058" y="112"/>
                  <a:pt x="1058" y="112"/>
                  <a:pt x="1058" y="112"/>
                </a:cubicBezTo>
                <a:cubicBezTo>
                  <a:pt x="1059" y="112"/>
                  <a:pt x="1059" y="112"/>
                  <a:pt x="1059" y="112"/>
                </a:cubicBezTo>
                <a:cubicBezTo>
                  <a:pt x="1062" y="99"/>
                  <a:pt x="1062" y="99"/>
                  <a:pt x="1062" y="99"/>
                </a:cubicBezTo>
                <a:cubicBezTo>
                  <a:pt x="1080" y="99"/>
                  <a:pt x="1080" y="99"/>
                  <a:pt x="1080" y="99"/>
                </a:cubicBezTo>
                <a:cubicBezTo>
                  <a:pt x="1083" y="112"/>
                  <a:pt x="1083" y="112"/>
                  <a:pt x="1083" y="112"/>
                </a:cubicBezTo>
                <a:cubicBezTo>
                  <a:pt x="1083" y="112"/>
                  <a:pt x="1083" y="112"/>
                  <a:pt x="1083" y="112"/>
                </a:cubicBezTo>
                <a:cubicBezTo>
                  <a:pt x="1093" y="112"/>
                  <a:pt x="1093" y="112"/>
                  <a:pt x="1093" y="112"/>
                </a:cubicBezTo>
                <a:cubicBezTo>
                  <a:pt x="1094" y="112"/>
                  <a:pt x="1094" y="112"/>
                  <a:pt x="1094" y="112"/>
                </a:cubicBezTo>
                <a:cubicBezTo>
                  <a:pt x="1094" y="112"/>
                  <a:pt x="1094" y="111"/>
                  <a:pt x="1094" y="111"/>
                </a:cubicBezTo>
                <a:cubicBezTo>
                  <a:pt x="1080" y="69"/>
                  <a:pt x="1080" y="69"/>
                  <a:pt x="1080" y="69"/>
                </a:cubicBezTo>
                <a:cubicBezTo>
                  <a:pt x="1080" y="69"/>
                  <a:pt x="1080" y="68"/>
                  <a:pt x="1079" y="68"/>
                </a:cubicBezTo>
                <a:moveTo>
                  <a:pt x="70" y="68"/>
                </a:moveTo>
                <a:cubicBezTo>
                  <a:pt x="70" y="98"/>
                  <a:pt x="70" y="98"/>
                  <a:pt x="70" y="98"/>
                </a:cubicBezTo>
                <a:cubicBezTo>
                  <a:pt x="70" y="119"/>
                  <a:pt x="61" y="132"/>
                  <a:pt x="41" y="132"/>
                </a:cubicBezTo>
                <a:cubicBezTo>
                  <a:pt x="26" y="132"/>
                  <a:pt x="26" y="132"/>
                  <a:pt x="26" y="132"/>
                </a:cubicBezTo>
                <a:cubicBezTo>
                  <a:pt x="21" y="172"/>
                  <a:pt x="21" y="172"/>
                  <a:pt x="21" y="172"/>
                </a:cubicBezTo>
                <a:cubicBezTo>
                  <a:pt x="43" y="172"/>
                  <a:pt x="43" y="172"/>
                  <a:pt x="43" y="172"/>
                </a:cubicBezTo>
                <a:cubicBezTo>
                  <a:pt x="81" y="172"/>
                  <a:pt x="111" y="145"/>
                  <a:pt x="111" y="101"/>
                </a:cubicBezTo>
                <a:cubicBezTo>
                  <a:pt x="111" y="68"/>
                  <a:pt x="111" y="68"/>
                  <a:pt x="111" y="68"/>
                </a:cubicBezTo>
                <a:lnTo>
                  <a:pt x="70" y="68"/>
                </a:lnTo>
                <a:close/>
              </a:path>
            </a:pathLst>
          </a:custGeom>
          <a:solidFill>
            <a:schemeClr val="tx2"/>
          </a:solidFill>
          <a:ln>
            <a:noFill/>
          </a:ln>
        </p:spPr>
        <p:txBody>
          <a:bodyPr vert="horz" wrap="square" lIns="121920" tIns="60960" rIns="121920" bIns="60960" numCol="1" anchor="t" anchorCtr="0" compatLnSpc="1">
            <a:prstTxWarp prst="textNoShape">
              <a:avLst/>
            </a:prstTxWarp>
          </a:bodyPr>
          <a:lstStyle/>
          <a:p>
            <a:pPr lvl="0"/>
            <a:endParaRPr lang="en-US" sz="2489" baseline="0" dirty="0">
              <a:solidFill>
                <a:srgbClr val="011F3D"/>
              </a:solidFill>
            </a:endParaRPr>
          </a:p>
        </p:txBody>
      </p:sp>
      <p:sp>
        <p:nvSpPr>
          <p:cNvPr id="38" name="Flight Mode" hidden="1">
            <a:extLst>
              <a:ext uri="{FF2B5EF4-FFF2-40B4-BE49-F238E27FC236}">
                <a16:creationId xmlns:a16="http://schemas.microsoft.com/office/drawing/2014/main" id="{51C412DE-218A-4E7E-9C06-64F615FCCCBD}"/>
              </a:ext>
            </a:extLst>
          </p:cNvPr>
          <p:cNvSpPr/>
          <p:nvPr userDrawn="1">
            <p:custDataLst>
              <p:tags r:id="rId19"/>
            </p:custDataLst>
          </p:nvPr>
        </p:nvSpPr>
        <p:spPr>
          <a:xfrm>
            <a:off x="9906000" y="6172200"/>
            <a:ext cx="1981200" cy="560713"/>
          </a:xfrm>
          <a:prstGeom prst="rect">
            <a:avLst/>
          </a:prstGeom>
          <a:solidFill>
            <a:schemeClr val="bg1"/>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lnSpc>
                <a:spcPct val="120000"/>
              </a:lnSpc>
              <a:spcAft>
                <a:spcPts val="700"/>
              </a:spcAft>
            </a:pPr>
            <a:endParaRPr lang="en-US" dirty="0">
              <a:solidFill>
                <a:schemeClr val="tx1"/>
              </a:solidFill>
            </a:endParaRPr>
          </a:p>
        </p:txBody>
      </p:sp>
      <p:grpSp>
        <p:nvGrpSpPr>
          <p:cNvPr id="215" name="Grid 10" hidden="1">
            <a:extLst>
              <a:ext uri="{FF2B5EF4-FFF2-40B4-BE49-F238E27FC236}">
                <a16:creationId xmlns:a16="http://schemas.microsoft.com/office/drawing/2014/main" id="{41B63EA6-02E6-4417-813F-3F8DDC908FCB}"/>
              </a:ext>
            </a:extLst>
          </p:cNvPr>
          <p:cNvGrpSpPr/>
          <p:nvPr userDrawn="1">
            <p:custDataLst>
              <p:tags r:id="rId20"/>
            </p:custDataLst>
          </p:nvPr>
        </p:nvGrpSpPr>
        <p:grpSpPr>
          <a:xfrm>
            <a:off x="69600" y="124200"/>
            <a:ext cx="12052800" cy="6609600"/>
            <a:chOff x="69600" y="124200"/>
            <a:chExt cx="12052800" cy="6609600"/>
          </a:xfrm>
        </p:grpSpPr>
        <p:cxnSp>
          <p:nvCxnSpPr>
            <p:cNvPr id="122" name="Straight Connector 121" hidden="1">
              <a:extLst>
                <a:ext uri="{FF2B5EF4-FFF2-40B4-BE49-F238E27FC236}">
                  <a16:creationId xmlns:a16="http://schemas.microsoft.com/office/drawing/2014/main" id="{B9BCAA52-56AC-4618-A055-C2E9B544E0C0}"/>
                </a:ext>
              </a:extLst>
            </p:cNvPr>
            <p:cNvCxnSpPr>
              <a:cxnSpLocks/>
            </p:cNvCxnSpPr>
            <p:nvPr userDrawn="1">
              <p:custDataLst>
                <p:tags r:id="rId62"/>
              </p:custDataLst>
            </p:nvPr>
          </p:nvCxnSpPr>
          <p:spPr>
            <a:xfrm>
              <a:off x="69600" y="1193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3" name="Straight Connector 122" hidden="1">
              <a:extLst>
                <a:ext uri="{FF2B5EF4-FFF2-40B4-BE49-F238E27FC236}">
                  <a16:creationId xmlns:a16="http://schemas.microsoft.com/office/drawing/2014/main" id="{841165C9-DF41-4C27-B862-CC9AC049EBB4}"/>
                </a:ext>
              </a:extLst>
            </p:cNvPr>
            <p:cNvCxnSpPr>
              <a:cxnSpLocks/>
            </p:cNvCxnSpPr>
            <p:nvPr userDrawn="1">
              <p:custDataLst>
                <p:tags r:id="rId63"/>
              </p:custDataLst>
            </p:nvPr>
          </p:nvCxnSpPr>
          <p:spPr>
            <a:xfrm>
              <a:off x="69600" y="1387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4" name="Straight Connector 123" hidden="1">
              <a:extLst>
                <a:ext uri="{FF2B5EF4-FFF2-40B4-BE49-F238E27FC236}">
                  <a16:creationId xmlns:a16="http://schemas.microsoft.com/office/drawing/2014/main" id="{E40C5546-8718-479A-BFCD-6B018924DF8E}"/>
                </a:ext>
              </a:extLst>
            </p:cNvPr>
            <p:cNvCxnSpPr>
              <a:cxnSpLocks/>
            </p:cNvCxnSpPr>
            <p:nvPr userDrawn="1">
              <p:custDataLst>
                <p:tags r:id="rId64"/>
              </p:custDataLst>
            </p:nvPr>
          </p:nvCxnSpPr>
          <p:spPr>
            <a:xfrm>
              <a:off x="69600" y="2165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5" name="Straight Connector 124" hidden="1">
              <a:extLst>
                <a:ext uri="{FF2B5EF4-FFF2-40B4-BE49-F238E27FC236}">
                  <a16:creationId xmlns:a16="http://schemas.microsoft.com/office/drawing/2014/main" id="{8CD9F926-ECA5-44EE-B14E-1F1FABD1E505}"/>
                </a:ext>
              </a:extLst>
            </p:cNvPr>
            <p:cNvCxnSpPr>
              <a:cxnSpLocks/>
            </p:cNvCxnSpPr>
            <p:nvPr userDrawn="1">
              <p:custDataLst>
                <p:tags r:id="rId65"/>
              </p:custDataLst>
            </p:nvPr>
          </p:nvCxnSpPr>
          <p:spPr>
            <a:xfrm>
              <a:off x="69600" y="2359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6" name="Straight Connector 125" hidden="1">
              <a:extLst>
                <a:ext uri="{FF2B5EF4-FFF2-40B4-BE49-F238E27FC236}">
                  <a16:creationId xmlns:a16="http://schemas.microsoft.com/office/drawing/2014/main" id="{7A1050B3-4C93-43BD-AAD2-F78B9746AA6A}"/>
                </a:ext>
              </a:extLst>
            </p:cNvPr>
            <p:cNvCxnSpPr>
              <a:cxnSpLocks/>
            </p:cNvCxnSpPr>
            <p:nvPr userDrawn="1">
              <p:custDataLst>
                <p:tags r:id="rId66"/>
              </p:custDataLst>
            </p:nvPr>
          </p:nvCxnSpPr>
          <p:spPr>
            <a:xfrm>
              <a:off x="69600" y="3137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7" name="Straight Connector 126" hidden="1">
              <a:extLst>
                <a:ext uri="{FF2B5EF4-FFF2-40B4-BE49-F238E27FC236}">
                  <a16:creationId xmlns:a16="http://schemas.microsoft.com/office/drawing/2014/main" id="{C5A43816-3FBB-40AA-BAAC-F15D05ED87CE}"/>
                </a:ext>
              </a:extLst>
            </p:cNvPr>
            <p:cNvCxnSpPr>
              <a:cxnSpLocks/>
            </p:cNvCxnSpPr>
            <p:nvPr userDrawn="1">
              <p:custDataLst>
                <p:tags r:id="rId67"/>
              </p:custDataLst>
            </p:nvPr>
          </p:nvCxnSpPr>
          <p:spPr>
            <a:xfrm>
              <a:off x="69600" y="3331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8" name="Straight Connector 127" hidden="1">
              <a:extLst>
                <a:ext uri="{FF2B5EF4-FFF2-40B4-BE49-F238E27FC236}">
                  <a16:creationId xmlns:a16="http://schemas.microsoft.com/office/drawing/2014/main" id="{68EF79A0-3982-4F94-890F-927AC0D407F3}"/>
                </a:ext>
              </a:extLst>
            </p:cNvPr>
            <p:cNvCxnSpPr>
              <a:cxnSpLocks/>
            </p:cNvCxnSpPr>
            <p:nvPr userDrawn="1">
              <p:custDataLst>
                <p:tags r:id="rId68"/>
              </p:custDataLst>
            </p:nvPr>
          </p:nvCxnSpPr>
          <p:spPr>
            <a:xfrm>
              <a:off x="69600" y="4109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9" name="Straight Connector 128" hidden="1">
              <a:extLst>
                <a:ext uri="{FF2B5EF4-FFF2-40B4-BE49-F238E27FC236}">
                  <a16:creationId xmlns:a16="http://schemas.microsoft.com/office/drawing/2014/main" id="{90AF35A3-2882-44AA-9F0F-35F22F26E78A}"/>
                </a:ext>
              </a:extLst>
            </p:cNvPr>
            <p:cNvCxnSpPr>
              <a:cxnSpLocks/>
            </p:cNvCxnSpPr>
            <p:nvPr userDrawn="1">
              <p:custDataLst>
                <p:tags r:id="rId69"/>
              </p:custDataLst>
            </p:nvPr>
          </p:nvCxnSpPr>
          <p:spPr>
            <a:xfrm>
              <a:off x="69600" y="4303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0" name="Straight Connector 129" hidden="1">
              <a:extLst>
                <a:ext uri="{FF2B5EF4-FFF2-40B4-BE49-F238E27FC236}">
                  <a16:creationId xmlns:a16="http://schemas.microsoft.com/office/drawing/2014/main" id="{2F806B57-44CB-4E9D-81B7-FD8FAA925C2B}"/>
                </a:ext>
              </a:extLst>
            </p:cNvPr>
            <p:cNvCxnSpPr>
              <a:cxnSpLocks/>
            </p:cNvCxnSpPr>
            <p:nvPr userDrawn="1">
              <p:custDataLst>
                <p:tags r:id="rId70"/>
              </p:custDataLst>
            </p:nvPr>
          </p:nvCxnSpPr>
          <p:spPr>
            <a:xfrm>
              <a:off x="69600" y="5081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1" name="Straight Connector 130" hidden="1">
              <a:extLst>
                <a:ext uri="{FF2B5EF4-FFF2-40B4-BE49-F238E27FC236}">
                  <a16:creationId xmlns:a16="http://schemas.microsoft.com/office/drawing/2014/main" id="{2DCB8A2C-AFC9-4FC7-A23D-CC904D1DDEFB}"/>
                </a:ext>
              </a:extLst>
            </p:cNvPr>
            <p:cNvCxnSpPr>
              <a:cxnSpLocks/>
            </p:cNvCxnSpPr>
            <p:nvPr userDrawn="1">
              <p:custDataLst>
                <p:tags r:id="rId71"/>
              </p:custDataLst>
            </p:nvPr>
          </p:nvCxnSpPr>
          <p:spPr>
            <a:xfrm>
              <a:off x="69600" y="5275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2" name="Straight Connector 131" hidden="1">
              <a:extLst>
                <a:ext uri="{FF2B5EF4-FFF2-40B4-BE49-F238E27FC236}">
                  <a16:creationId xmlns:a16="http://schemas.microsoft.com/office/drawing/2014/main" id="{3B165C40-F358-429A-A07B-C1B04037341F}"/>
                </a:ext>
              </a:extLst>
            </p:cNvPr>
            <p:cNvCxnSpPr>
              <a:cxnSpLocks/>
            </p:cNvCxnSpPr>
            <p:nvPr userDrawn="1">
              <p:custDataLst>
                <p:tags r:id="rId72"/>
              </p:custDataLst>
            </p:nvPr>
          </p:nvCxnSpPr>
          <p:spPr>
            <a:xfrm>
              <a:off x="69600" y="6053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3" name="Straight Connector 132" hidden="1">
              <a:extLst>
                <a:ext uri="{FF2B5EF4-FFF2-40B4-BE49-F238E27FC236}">
                  <a16:creationId xmlns:a16="http://schemas.microsoft.com/office/drawing/2014/main" id="{8F9DDED8-902B-4E60-AB2B-39010B04F09D}"/>
                </a:ext>
              </a:extLst>
            </p:cNvPr>
            <p:cNvCxnSpPr>
              <a:cxnSpLocks/>
            </p:cNvCxnSpPr>
            <p:nvPr userDrawn="1">
              <p:custDataLst>
                <p:tags r:id="rId73"/>
              </p:custDataLst>
            </p:nvPr>
          </p:nvCxnSpPr>
          <p:spPr>
            <a:xfrm>
              <a:off x="69600" y="707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4" name="Straight Connector 133" hidden="1">
              <a:extLst>
                <a:ext uri="{FF2B5EF4-FFF2-40B4-BE49-F238E27FC236}">
                  <a16:creationId xmlns:a16="http://schemas.microsoft.com/office/drawing/2014/main" id="{1CD222CA-1F87-4A58-9BCD-4F7A32F4B904}"/>
                </a:ext>
              </a:extLst>
            </p:cNvPr>
            <p:cNvCxnSpPr>
              <a:cxnSpLocks/>
            </p:cNvCxnSpPr>
            <p:nvPr userDrawn="1">
              <p:custDataLst>
                <p:tags r:id="rId74"/>
              </p:custDataLst>
            </p:nvPr>
          </p:nvCxnSpPr>
          <p:spPr>
            <a:xfrm>
              <a:off x="69600" y="221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7" name="Straight Connector 136" hidden="1">
              <a:extLst>
                <a:ext uri="{FF2B5EF4-FFF2-40B4-BE49-F238E27FC236}">
                  <a16:creationId xmlns:a16="http://schemas.microsoft.com/office/drawing/2014/main" id="{8FDEF18F-A575-480D-B8A9-38FA8211F9B2}"/>
                </a:ext>
              </a:extLst>
            </p:cNvPr>
            <p:cNvCxnSpPr>
              <a:cxnSpLocks/>
            </p:cNvCxnSpPr>
            <p:nvPr userDrawn="1">
              <p:custDataLst>
                <p:tags r:id="rId75"/>
              </p:custDataLst>
            </p:nvPr>
          </p:nvCxnSpPr>
          <p:spPr>
            <a:xfrm>
              <a:off x="361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8" name="Straight Connector 137" hidden="1">
              <a:extLst>
                <a:ext uri="{FF2B5EF4-FFF2-40B4-BE49-F238E27FC236}">
                  <a16:creationId xmlns:a16="http://schemas.microsoft.com/office/drawing/2014/main" id="{CD7861F7-C6EB-4565-BF1E-ACA830B57B86}"/>
                </a:ext>
              </a:extLst>
            </p:cNvPr>
            <p:cNvCxnSpPr>
              <a:cxnSpLocks/>
            </p:cNvCxnSpPr>
            <p:nvPr userDrawn="1">
              <p:custDataLst>
                <p:tags r:id="rId76"/>
              </p:custDataLst>
            </p:nvPr>
          </p:nvCxnSpPr>
          <p:spPr>
            <a:xfrm>
              <a:off x="11830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07" name="Straight Connector 206" hidden="1">
              <a:extLst>
                <a:ext uri="{FF2B5EF4-FFF2-40B4-BE49-F238E27FC236}">
                  <a16:creationId xmlns:a16="http://schemas.microsoft.com/office/drawing/2014/main" id="{8561AD68-A6E5-4837-845D-3F0D44864AA6}"/>
                </a:ext>
              </a:extLst>
            </p:cNvPr>
            <p:cNvCxnSpPr>
              <a:cxnSpLocks/>
            </p:cNvCxnSpPr>
            <p:nvPr userDrawn="1">
              <p:custDataLst>
                <p:tags r:id="rId77"/>
              </p:custDataLst>
            </p:nvPr>
          </p:nvCxnSpPr>
          <p:spPr>
            <a:xfrm>
              <a:off x="24996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08" name="Straight Connector 207" hidden="1">
              <a:extLst>
                <a:ext uri="{FF2B5EF4-FFF2-40B4-BE49-F238E27FC236}">
                  <a16:creationId xmlns:a16="http://schemas.microsoft.com/office/drawing/2014/main" id="{77F5B4AA-6DD9-4D10-A56E-13F0CDEE827E}"/>
                </a:ext>
              </a:extLst>
            </p:cNvPr>
            <p:cNvCxnSpPr>
              <a:cxnSpLocks/>
            </p:cNvCxnSpPr>
            <p:nvPr userDrawn="1">
              <p:custDataLst>
                <p:tags r:id="rId78"/>
              </p:custDataLst>
            </p:nvPr>
          </p:nvCxnSpPr>
          <p:spPr>
            <a:xfrm>
              <a:off x="26940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09" name="Straight Connector 208" hidden="1">
              <a:extLst>
                <a:ext uri="{FF2B5EF4-FFF2-40B4-BE49-F238E27FC236}">
                  <a16:creationId xmlns:a16="http://schemas.microsoft.com/office/drawing/2014/main" id="{E32DD88E-6225-48B7-BD63-5A7152D25D00}"/>
                </a:ext>
              </a:extLst>
            </p:cNvPr>
            <p:cNvCxnSpPr>
              <a:cxnSpLocks/>
            </p:cNvCxnSpPr>
            <p:nvPr userDrawn="1">
              <p:custDataLst>
                <p:tags r:id="rId79"/>
              </p:custDataLst>
            </p:nvPr>
          </p:nvCxnSpPr>
          <p:spPr>
            <a:xfrm>
              <a:off x="48324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0" name="Straight Connector 209" hidden="1">
              <a:extLst>
                <a:ext uri="{FF2B5EF4-FFF2-40B4-BE49-F238E27FC236}">
                  <a16:creationId xmlns:a16="http://schemas.microsoft.com/office/drawing/2014/main" id="{EA6FB8A1-41A5-4DF4-B1E6-A6478D623E0B}"/>
                </a:ext>
              </a:extLst>
            </p:cNvPr>
            <p:cNvCxnSpPr>
              <a:cxnSpLocks/>
            </p:cNvCxnSpPr>
            <p:nvPr userDrawn="1">
              <p:custDataLst>
                <p:tags r:id="rId80"/>
              </p:custDataLst>
            </p:nvPr>
          </p:nvCxnSpPr>
          <p:spPr>
            <a:xfrm>
              <a:off x="5026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1" name="Straight Connector 210" hidden="1">
              <a:extLst>
                <a:ext uri="{FF2B5EF4-FFF2-40B4-BE49-F238E27FC236}">
                  <a16:creationId xmlns:a16="http://schemas.microsoft.com/office/drawing/2014/main" id="{3D29ED6E-C07F-49D3-9F68-C9D56EFE9B01}"/>
                </a:ext>
              </a:extLst>
            </p:cNvPr>
            <p:cNvCxnSpPr>
              <a:cxnSpLocks/>
            </p:cNvCxnSpPr>
            <p:nvPr userDrawn="1">
              <p:custDataLst>
                <p:tags r:id="rId81"/>
              </p:custDataLst>
            </p:nvPr>
          </p:nvCxnSpPr>
          <p:spPr>
            <a:xfrm>
              <a:off x="7165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2" name="Straight Connector 211" hidden="1">
              <a:extLst>
                <a:ext uri="{FF2B5EF4-FFF2-40B4-BE49-F238E27FC236}">
                  <a16:creationId xmlns:a16="http://schemas.microsoft.com/office/drawing/2014/main" id="{5F2EB72B-1BB9-4C67-B4EA-3C17CB77D478}"/>
                </a:ext>
              </a:extLst>
            </p:cNvPr>
            <p:cNvCxnSpPr>
              <a:cxnSpLocks/>
            </p:cNvCxnSpPr>
            <p:nvPr userDrawn="1">
              <p:custDataLst>
                <p:tags r:id="rId82"/>
              </p:custDataLst>
            </p:nvPr>
          </p:nvCxnSpPr>
          <p:spPr>
            <a:xfrm>
              <a:off x="73596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3" name="Straight Connector 212" hidden="1">
              <a:extLst>
                <a:ext uri="{FF2B5EF4-FFF2-40B4-BE49-F238E27FC236}">
                  <a16:creationId xmlns:a16="http://schemas.microsoft.com/office/drawing/2014/main" id="{B346624D-E567-4FB4-B2E7-6825A4214884}"/>
                </a:ext>
              </a:extLst>
            </p:cNvPr>
            <p:cNvCxnSpPr>
              <a:cxnSpLocks/>
            </p:cNvCxnSpPr>
            <p:nvPr userDrawn="1">
              <p:custDataLst>
                <p:tags r:id="rId83"/>
              </p:custDataLst>
            </p:nvPr>
          </p:nvCxnSpPr>
          <p:spPr>
            <a:xfrm>
              <a:off x="94980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4" name="Straight Connector 213" hidden="1">
              <a:extLst>
                <a:ext uri="{FF2B5EF4-FFF2-40B4-BE49-F238E27FC236}">
                  <a16:creationId xmlns:a16="http://schemas.microsoft.com/office/drawing/2014/main" id="{DC075EA0-9EE4-4C41-83ED-54AE4FB9BF41}"/>
                </a:ext>
              </a:extLst>
            </p:cNvPr>
            <p:cNvCxnSpPr>
              <a:cxnSpLocks/>
            </p:cNvCxnSpPr>
            <p:nvPr userDrawn="1">
              <p:custDataLst>
                <p:tags r:id="rId84"/>
              </p:custDataLst>
            </p:nvPr>
          </p:nvCxnSpPr>
          <p:spPr>
            <a:xfrm>
              <a:off x="96924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121" name="Grid 12" hidden="1">
            <a:extLst>
              <a:ext uri="{FF2B5EF4-FFF2-40B4-BE49-F238E27FC236}">
                <a16:creationId xmlns:a16="http://schemas.microsoft.com/office/drawing/2014/main" id="{FF76E8F0-D76F-435F-B567-796EC5CE9631}"/>
              </a:ext>
            </a:extLst>
          </p:cNvPr>
          <p:cNvGrpSpPr/>
          <p:nvPr userDrawn="1">
            <p:custDataLst>
              <p:tags r:id="rId21"/>
            </p:custDataLst>
          </p:nvPr>
        </p:nvGrpSpPr>
        <p:grpSpPr>
          <a:xfrm>
            <a:off x="69600" y="124200"/>
            <a:ext cx="12052800" cy="6609600"/>
            <a:chOff x="69600" y="124200"/>
            <a:chExt cx="12052800" cy="6609600"/>
          </a:xfrm>
        </p:grpSpPr>
        <p:cxnSp>
          <p:nvCxnSpPr>
            <p:cNvPr id="7" name="Straight Connector 6" hidden="1">
              <a:extLst>
                <a:ext uri="{FF2B5EF4-FFF2-40B4-BE49-F238E27FC236}">
                  <a16:creationId xmlns:a16="http://schemas.microsoft.com/office/drawing/2014/main" id="{0C720340-B66D-4F49-B9FD-4575B31C2A69}"/>
                </a:ext>
              </a:extLst>
            </p:cNvPr>
            <p:cNvCxnSpPr>
              <a:cxnSpLocks/>
            </p:cNvCxnSpPr>
            <p:nvPr userDrawn="1">
              <p:custDataLst>
                <p:tags r:id="rId24"/>
              </p:custDataLst>
            </p:nvPr>
          </p:nvCxnSpPr>
          <p:spPr>
            <a:xfrm>
              <a:off x="69600" y="1193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1" name="Straight Connector 70" hidden="1">
              <a:extLst>
                <a:ext uri="{FF2B5EF4-FFF2-40B4-BE49-F238E27FC236}">
                  <a16:creationId xmlns:a16="http://schemas.microsoft.com/office/drawing/2014/main" id="{81807A62-654A-43ED-B683-CBC4326BC8A7}"/>
                </a:ext>
              </a:extLst>
            </p:cNvPr>
            <p:cNvCxnSpPr>
              <a:cxnSpLocks/>
            </p:cNvCxnSpPr>
            <p:nvPr userDrawn="1">
              <p:custDataLst>
                <p:tags r:id="rId25"/>
              </p:custDataLst>
            </p:nvPr>
          </p:nvCxnSpPr>
          <p:spPr>
            <a:xfrm>
              <a:off x="69600" y="1387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2" name="Straight Connector 71" hidden="1">
              <a:extLst>
                <a:ext uri="{FF2B5EF4-FFF2-40B4-BE49-F238E27FC236}">
                  <a16:creationId xmlns:a16="http://schemas.microsoft.com/office/drawing/2014/main" id="{A2146F73-BE7D-4958-AFDC-6C5538587470}"/>
                </a:ext>
              </a:extLst>
            </p:cNvPr>
            <p:cNvCxnSpPr>
              <a:cxnSpLocks/>
            </p:cNvCxnSpPr>
            <p:nvPr userDrawn="1">
              <p:custDataLst>
                <p:tags r:id="rId26"/>
              </p:custDataLst>
            </p:nvPr>
          </p:nvCxnSpPr>
          <p:spPr>
            <a:xfrm>
              <a:off x="69600" y="2165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3" name="Straight Connector 72" hidden="1">
              <a:extLst>
                <a:ext uri="{FF2B5EF4-FFF2-40B4-BE49-F238E27FC236}">
                  <a16:creationId xmlns:a16="http://schemas.microsoft.com/office/drawing/2014/main" id="{08567DD7-82C1-49B4-90EE-ADB8EC52EE63}"/>
                </a:ext>
              </a:extLst>
            </p:cNvPr>
            <p:cNvCxnSpPr>
              <a:cxnSpLocks/>
            </p:cNvCxnSpPr>
            <p:nvPr userDrawn="1">
              <p:custDataLst>
                <p:tags r:id="rId27"/>
              </p:custDataLst>
            </p:nvPr>
          </p:nvCxnSpPr>
          <p:spPr>
            <a:xfrm>
              <a:off x="69600" y="2359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5" name="Straight Connector 74" hidden="1">
              <a:extLst>
                <a:ext uri="{FF2B5EF4-FFF2-40B4-BE49-F238E27FC236}">
                  <a16:creationId xmlns:a16="http://schemas.microsoft.com/office/drawing/2014/main" id="{0CFA2081-C2A6-42A6-8B44-6F472F05821C}"/>
                </a:ext>
              </a:extLst>
            </p:cNvPr>
            <p:cNvCxnSpPr>
              <a:cxnSpLocks/>
            </p:cNvCxnSpPr>
            <p:nvPr userDrawn="1">
              <p:custDataLst>
                <p:tags r:id="rId28"/>
              </p:custDataLst>
            </p:nvPr>
          </p:nvCxnSpPr>
          <p:spPr>
            <a:xfrm>
              <a:off x="69600" y="3137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6" name="Straight Connector 75" hidden="1">
              <a:extLst>
                <a:ext uri="{FF2B5EF4-FFF2-40B4-BE49-F238E27FC236}">
                  <a16:creationId xmlns:a16="http://schemas.microsoft.com/office/drawing/2014/main" id="{104CDA09-3A8E-4406-B53D-580F1F54D231}"/>
                </a:ext>
              </a:extLst>
            </p:cNvPr>
            <p:cNvCxnSpPr>
              <a:cxnSpLocks/>
            </p:cNvCxnSpPr>
            <p:nvPr userDrawn="1">
              <p:custDataLst>
                <p:tags r:id="rId29"/>
              </p:custDataLst>
            </p:nvPr>
          </p:nvCxnSpPr>
          <p:spPr>
            <a:xfrm>
              <a:off x="69600" y="3331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7" name="Straight Connector 76" hidden="1">
              <a:extLst>
                <a:ext uri="{FF2B5EF4-FFF2-40B4-BE49-F238E27FC236}">
                  <a16:creationId xmlns:a16="http://schemas.microsoft.com/office/drawing/2014/main" id="{D6D50EA8-3658-4BCD-9E6B-EEF3474A6A4B}"/>
                </a:ext>
              </a:extLst>
            </p:cNvPr>
            <p:cNvCxnSpPr>
              <a:cxnSpLocks/>
            </p:cNvCxnSpPr>
            <p:nvPr userDrawn="1">
              <p:custDataLst>
                <p:tags r:id="rId30"/>
              </p:custDataLst>
            </p:nvPr>
          </p:nvCxnSpPr>
          <p:spPr>
            <a:xfrm>
              <a:off x="69600" y="4109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8" name="Straight Connector 77" hidden="1">
              <a:extLst>
                <a:ext uri="{FF2B5EF4-FFF2-40B4-BE49-F238E27FC236}">
                  <a16:creationId xmlns:a16="http://schemas.microsoft.com/office/drawing/2014/main" id="{1EA2E3FB-FA29-4B7C-84F6-9168D2D3A73F}"/>
                </a:ext>
              </a:extLst>
            </p:cNvPr>
            <p:cNvCxnSpPr>
              <a:cxnSpLocks/>
            </p:cNvCxnSpPr>
            <p:nvPr userDrawn="1">
              <p:custDataLst>
                <p:tags r:id="rId31"/>
              </p:custDataLst>
            </p:nvPr>
          </p:nvCxnSpPr>
          <p:spPr>
            <a:xfrm>
              <a:off x="69600" y="4303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9" name="Straight Connector 78" hidden="1">
              <a:extLst>
                <a:ext uri="{FF2B5EF4-FFF2-40B4-BE49-F238E27FC236}">
                  <a16:creationId xmlns:a16="http://schemas.microsoft.com/office/drawing/2014/main" id="{B2311BA9-01D8-4BDD-8A6B-AFC36ED07AAB}"/>
                </a:ext>
              </a:extLst>
            </p:cNvPr>
            <p:cNvCxnSpPr>
              <a:cxnSpLocks/>
            </p:cNvCxnSpPr>
            <p:nvPr userDrawn="1">
              <p:custDataLst>
                <p:tags r:id="rId32"/>
              </p:custDataLst>
            </p:nvPr>
          </p:nvCxnSpPr>
          <p:spPr>
            <a:xfrm>
              <a:off x="69600" y="5081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0" name="Straight Connector 79" hidden="1">
              <a:extLst>
                <a:ext uri="{FF2B5EF4-FFF2-40B4-BE49-F238E27FC236}">
                  <a16:creationId xmlns:a16="http://schemas.microsoft.com/office/drawing/2014/main" id="{36326F7B-2F81-42A5-A8A3-08D81254EDEB}"/>
                </a:ext>
              </a:extLst>
            </p:cNvPr>
            <p:cNvCxnSpPr>
              <a:cxnSpLocks/>
            </p:cNvCxnSpPr>
            <p:nvPr userDrawn="1">
              <p:custDataLst>
                <p:tags r:id="rId33"/>
              </p:custDataLst>
            </p:nvPr>
          </p:nvCxnSpPr>
          <p:spPr>
            <a:xfrm>
              <a:off x="69600" y="5275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1" name="Straight Connector 80" hidden="1">
              <a:extLst>
                <a:ext uri="{FF2B5EF4-FFF2-40B4-BE49-F238E27FC236}">
                  <a16:creationId xmlns:a16="http://schemas.microsoft.com/office/drawing/2014/main" id="{741DBAE7-4EF5-4432-8620-05D708AF2115}"/>
                </a:ext>
              </a:extLst>
            </p:cNvPr>
            <p:cNvCxnSpPr>
              <a:cxnSpLocks/>
            </p:cNvCxnSpPr>
            <p:nvPr userDrawn="1">
              <p:custDataLst>
                <p:tags r:id="rId34"/>
              </p:custDataLst>
            </p:nvPr>
          </p:nvCxnSpPr>
          <p:spPr>
            <a:xfrm>
              <a:off x="69600" y="6053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2" name="Straight Connector 81" hidden="1">
              <a:extLst>
                <a:ext uri="{FF2B5EF4-FFF2-40B4-BE49-F238E27FC236}">
                  <a16:creationId xmlns:a16="http://schemas.microsoft.com/office/drawing/2014/main" id="{866B77BB-5373-47BC-B6BB-A46011200B8E}"/>
                </a:ext>
              </a:extLst>
            </p:cNvPr>
            <p:cNvCxnSpPr>
              <a:cxnSpLocks/>
            </p:cNvCxnSpPr>
            <p:nvPr userDrawn="1">
              <p:custDataLst>
                <p:tags r:id="rId35"/>
              </p:custDataLst>
            </p:nvPr>
          </p:nvCxnSpPr>
          <p:spPr>
            <a:xfrm>
              <a:off x="69600" y="707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3" name="Straight Connector 82" hidden="1">
              <a:extLst>
                <a:ext uri="{FF2B5EF4-FFF2-40B4-BE49-F238E27FC236}">
                  <a16:creationId xmlns:a16="http://schemas.microsoft.com/office/drawing/2014/main" id="{AB675A73-DA3C-4310-B48A-116FD3C92CAF}"/>
                </a:ext>
              </a:extLst>
            </p:cNvPr>
            <p:cNvCxnSpPr>
              <a:cxnSpLocks/>
            </p:cNvCxnSpPr>
            <p:nvPr userDrawn="1">
              <p:custDataLst>
                <p:tags r:id="rId36"/>
              </p:custDataLst>
            </p:nvPr>
          </p:nvCxnSpPr>
          <p:spPr>
            <a:xfrm>
              <a:off x="69600" y="221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7" name="Straight Connector 86" hidden="1">
              <a:extLst>
                <a:ext uri="{FF2B5EF4-FFF2-40B4-BE49-F238E27FC236}">
                  <a16:creationId xmlns:a16="http://schemas.microsoft.com/office/drawing/2014/main" id="{FD1A032F-5215-47FA-A3CE-9EFBCA91DFC2}"/>
                </a:ext>
              </a:extLst>
            </p:cNvPr>
            <p:cNvCxnSpPr>
              <a:cxnSpLocks/>
            </p:cNvCxnSpPr>
            <p:nvPr userDrawn="1">
              <p:custDataLst>
                <p:tags r:id="rId37"/>
              </p:custDataLst>
            </p:nvPr>
          </p:nvCxnSpPr>
          <p:spPr>
            <a:xfrm>
              <a:off x="11830800" y="124200"/>
              <a:ext cx="0" cy="65124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4" name="Straight Connector 93" hidden="1">
              <a:extLst>
                <a:ext uri="{FF2B5EF4-FFF2-40B4-BE49-F238E27FC236}">
                  <a16:creationId xmlns:a16="http://schemas.microsoft.com/office/drawing/2014/main" id="{E36586DA-53F8-41F6-99C5-9DF0B9B69124}"/>
                </a:ext>
              </a:extLst>
            </p:cNvPr>
            <p:cNvCxnSpPr>
              <a:cxnSpLocks/>
            </p:cNvCxnSpPr>
            <p:nvPr userDrawn="1">
              <p:custDataLst>
                <p:tags r:id="rId38"/>
              </p:custDataLst>
            </p:nvPr>
          </p:nvCxnSpPr>
          <p:spPr>
            <a:xfrm>
              <a:off x="361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6" name="Straight Connector 95" hidden="1">
              <a:extLst>
                <a:ext uri="{FF2B5EF4-FFF2-40B4-BE49-F238E27FC236}">
                  <a16:creationId xmlns:a16="http://schemas.microsoft.com/office/drawing/2014/main" id="{2AE8270B-EC18-4447-ADBC-6B26C087C150}"/>
                </a:ext>
              </a:extLst>
            </p:cNvPr>
            <p:cNvCxnSpPr>
              <a:cxnSpLocks/>
            </p:cNvCxnSpPr>
            <p:nvPr userDrawn="1">
              <p:custDataLst>
                <p:tags r:id="rId39"/>
              </p:custDataLst>
            </p:nvPr>
          </p:nvCxnSpPr>
          <p:spPr>
            <a:xfrm>
              <a:off x="1138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7" name="Straight Connector 96" hidden="1">
              <a:extLst>
                <a:ext uri="{FF2B5EF4-FFF2-40B4-BE49-F238E27FC236}">
                  <a16:creationId xmlns:a16="http://schemas.microsoft.com/office/drawing/2014/main" id="{C4C3C528-5E8B-43CE-ABDE-94741A0B7904}"/>
                </a:ext>
              </a:extLst>
            </p:cNvPr>
            <p:cNvCxnSpPr>
              <a:cxnSpLocks/>
            </p:cNvCxnSpPr>
            <p:nvPr userDrawn="1">
              <p:custDataLst>
                <p:tags r:id="rId40"/>
              </p:custDataLst>
            </p:nvPr>
          </p:nvCxnSpPr>
          <p:spPr>
            <a:xfrm>
              <a:off x="1333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8" name="Straight Connector 97" hidden="1">
              <a:extLst>
                <a:ext uri="{FF2B5EF4-FFF2-40B4-BE49-F238E27FC236}">
                  <a16:creationId xmlns:a16="http://schemas.microsoft.com/office/drawing/2014/main" id="{49DDFBCD-533D-40B2-BD61-7137513D544B}"/>
                </a:ext>
              </a:extLst>
            </p:cNvPr>
            <p:cNvCxnSpPr>
              <a:cxnSpLocks/>
            </p:cNvCxnSpPr>
            <p:nvPr userDrawn="1">
              <p:custDataLst>
                <p:tags r:id="rId41"/>
              </p:custDataLst>
            </p:nvPr>
          </p:nvCxnSpPr>
          <p:spPr>
            <a:xfrm>
              <a:off x="2110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9" name="Straight Connector 98" hidden="1">
              <a:extLst>
                <a:ext uri="{FF2B5EF4-FFF2-40B4-BE49-F238E27FC236}">
                  <a16:creationId xmlns:a16="http://schemas.microsoft.com/office/drawing/2014/main" id="{AC9C8967-DFBE-42BE-AAE6-4896E52D7598}"/>
                </a:ext>
              </a:extLst>
            </p:cNvPr>
            <p:cNvCxnSpPr>
              <a:cxnSpLocks/>
            </p:cNvCxnSpPr>
            <p:nvPr userDrawn="1">
              <p:custDataLst>
                <p:tags r:id="rId42"/>
              </p:custDataLst>
            </p:nvPr>
          </p:nvCxnSpPr>
          <p:spPr>
            <a:xfrm>
              <a:off x="2305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0" name="Straight Connector 99" hidden="1">
              <a:extLst>
                <a:ext uri="{FF2B5EF4-FFF2-40B4-BE49-F238E27FC236}">
                  <a16:creationId xmlns:a16="http://schemas.microsoft.com/office/drawing/2014/main" id="{2AEC60AB-AFE6-42B8-A688-03ACD2131558}"/>
                </a:ext>
              </a:extLst>
            </p:cNvPr>
            <p:cNvCxnSpPr>
              <a:cxnSpLocks/>
            </p:cNvCxnSpPr>
            <p:nvPr userDrawn="1">
              <p:custDataLst>
                <p:tags r:id="rId43"/>
              </p:custDataLst>
            </p:nvPr>
          </p:nvCxnSpPr>
          <p:spPr>
            <a:xfrm>
              <a:off x="3082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1" name="Straight Connector 100" hidden="1">
              <a:extLst>
                <a:ext uri="{FF2B5EF4-FFF2-40B4-BE49-F238E27FC236}">
                  <a16:creationId xmlns:a16="http://schemas.microsoft.com/office/drawing/2014/main" id="{3BC37E11-9F9D-4B42-B265-A2C4F644F077}"/>
                </a:ext>
              </a:extLst>
            </p:cNvPr>
            <p:cNvCxnSpPr>
              <a:cxnSpLocks/>
            </p:cNvCxnSpPr>
            <p:nvPr userDrawn="1">
              <p:custDataLst>
                <p:tags r:id="rId44"/>
              </p:custDataLst>
            </p:nvPr>
          </p:nvCxnSpPr>
          <p:spPr>
            <a:xfrm>
              <a:off x="4054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2" name="Straight Connector 101" hidden="1">
              <a:extLst>
                <a:ext uri="{FF2B5EF4-FFF2-40B4-BE49-F238E27FC236}">
                  <a16:creationId xmlns:a16="http://schemas.microsoft.com/office/drawing/2014/main" id="{9BFBEA6C-9985-47BB-9EAB-4229A839E534}"/>
                </a:ext>
              </a:extLst>
            </p:cNvPr>
            <p:cNvCxnSpPr>
              <a:cxnSpLocks/>
            </p:cNvCxnSpPr>
            <p:nvPr userDrawn="1">
              <p:custDataLst>
                <p:tags r:id="rId45"/>
              </p:custDataLst>
            </p:nvPr>
          </p:nvCxnSpPr>
          <p:spPr>
            <a:xfrm>
              <a:off x="5026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3" name="Straight Connector 102" hidden="1">
              <a:extLst>
                <a:ext uri="{FF2B5EF4-FFF2-40B4-BE49-F238E27FC236}">
                  <a16:creationId xmlns:a16="http://schemas.microsoft.com/office/drawing/2014/main" id="{CDFDE7CB-E86F-4397-97EF-13AE57F2A146}"/>
                </a:ext>
              </a:extLst>
            </p:cNvPr>
            <p:cNvCxnSpPr>
              <a:cxnSpLocks/>
            </p:cNvCxnSpPr>
            <p:nvPr userDrawn="1">
              <p:custDataLst>
                <p:tags r:id="rId46"/>
              </p:custDataLst>
            </p:nvPr>
          </p:nvCxnSpPr>
          <p:spPr>
            <a:xfrm>
              <a:off x="5998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4" name="Straight Connector 103" hidden="1">
              <a:extLst>
                <a:ext uri="{FF2B5EF4-FFF2-40B4-BE49-F238E27FC236}">
                  <a16:creationId xmlns:a16="http://schemas.microsoft.com/office/drawing/2014/main" id="{F6160416-5122-40AB-8869-40DF728B201D}"/>
                </a:ext>
              </a:extLst>
            </p:cNvPr>
            <p:cNvCxnSpPr>
              <a:cxnSpLocks/>
            </p:cNvCxnSpPr>
            <p:nvPr userDrawn="1">
              <p:custDataLst>
                <p:tags r:id="rId47"/>
              </p:custDataLst>
            </p:nvPr>
          </p:nvCxnSpPr>
          <p:spPr>
            <a:xfrm>
              <a:off x="6970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5" name="Straight Connector 104" hidden="1">
              <a:extLst>
                <a:ext uri="{FF2B5EF4-FFF2-40B4-BE49-F238E27FC236}">
                  <a16:creationId xmlns:a16="http://schemas.microsoft.com/office/drawing/2014/main" id="{8B28EF8C-BC86-4E39-B5B8-7DBB34CC59B1}"/>
                </a:ext>
              </a:extLst>
            </p:cNvPr>
            <p:cNvCxnSpPr>
              <a:cxnSpLocks/>
            </p:cNvCxnSpPr>
            <p:nvPr userDrawn="1">
              <p:custDataLst>
                <p:tags r:id="rId48"/>
              </p:custDataLst>
            </p:nvPr>
          </p:nvCxnSpPr>
          <p:spPr>
            <a:xfrm>
              <a:off x="7942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6" name="Straight Connector 105" hidden="1">
              <a:extLst>
                <a:ext uri="{FF2B5EF4-FFF2-40B4-BE49-F238E27FC236}">
                  <a16:creationId xmlns:a16="http://schemas.microsoft.com/office/drawing/2014/main" id="{56938AB8-5069-4B75-AB9C-99F36915E944}"/>
                </a:ext>
              </a:extLst>
            </p:cNvPr>
            <p:cNvCxnSpPr>
              <a:cxnSpLocks/>
            </p:cNvCxnSpPr>
            <p:nvPr userDrawn="1">
              <p:custDataLst>
                <p:tags r:id="rId49"/>
              </p:custDataLst>
            </p:nvPr>
          </p:nvCxnSpPr>
          <p:spPr>
            <a:xfrm>
              <a:off x="8914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7" name="Straight Connector 106" hidden="1">
              <a:extLst>
                <a:ext uri="{FF2B5EF4-FFF2-40B4-BE49-F238E27FC236}">
                  <a16:creationId xmlns:a16="http://schemas.microsoft.com/office/drawing/2014/main" id="{1EE77ADD-931D-405C-BFCB-BF7A71570118}"/>
                </a:ext>
              </a:extLst>
            </p:cNvPr>
            <p:cNvCxnSpPr>
              <a:cxnSpLocks/>
            </p:cNvCxnSpPr>
            <p:nvPr userDrawn="1">
              <p:custDataLst>
                <p:tags r:id="rId50"/>
              </p:custDataLst>
            </p:nvPr>
          </p:nvCxnSpPr>
          <p:spPr>
            <a:xfrm>
              <a:off x="9886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8" name="Straight Connector 107" hidden="1">
              <a:extLst>
                <a:ext uri="{FF2B5EF4-FFF2-40B4-BE49-F238E27FC236}">
                  <a16:creationId xmlns:a16="http://schemas.microsoft.com/office/drawing/2014/main" id="{9D39FEC3-5B82-4B42-A3A3-1F2796CA3E10}"/>
                </a:ext>
              </a:extLst>
            </p:cNvPr>
            <p:cNvCxnSpPr>
              <a:cxnSpLocks/>
            </p:cNvCxnSpPr>
            <p:nvPr userDrawn="1">
              <p:custDataLst>
                <p:tags r:id="rId51"/>
              </p:custDataLst>
            </p:nvPr>
          </p:nvCxnSpPr>
          <p:spPr>
            <a:xfrm>
              <a:off x="10858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9" name="Straight Connector 108" hidden="1">
              <a:extLst>
                <a:ext uri="{FF2B5EF4-FFF2-40B4-BE49-F238E27FC236}">
                  <a16:creationId xmlns:a16="http://schemas.microsoft.com/office/drawing/2014/main" id="{6F925EAA-C8D4-4B77-AA37-C7BFA476BBC1}"/>
                </a:ext>
              </a:extLst>
            </p:cNvPr>
            <p:cNvCxnSpPr>
              <a:cxnSpLocks/>
            </p:cNvCxnSpPr>
            <p:nvPr userDrawn="1">
              <p:custDataLst>
                <p:tags r:id="rId52"/>
              </p:custDataLst>
            </p:nvPr>
          </p:nvCxnSpPr>
          <p:spPr>
            <a:xfrm>
              <a:off x="11053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0" name="Straight Connector 109" hidden="1">
              <a:extLst>
                <a:ext uri="{FF2B5EF4-FFF2-40B4-BE49-F238E27FC236}">
                  <a16:creationId xmlns:a16="http://schemas.microsoft.com/office/drawing/2014/main" id="{E8757983-5EE2-4769-8245-E31F1ED65B65}"/>
                </a:ext>
              </a:extLst>
            </p:cNvPr>
            <p:cNvCxnSpPr>
              <a:cxnSpLocks/>
            </p:cNvCxnSpPr>
            <p:nvPr userDrawn="1">
              <p:custDataLst>
                <p:tags r:id="rId53"/>
              </p:custDataLst>
            </p:nvPr>
          </p:nvCxnSpPr>
          <p:spPr>
            <a:xfrm>
              <a:off x="10081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1" name="Straight Connector 110" hidden="1">
              <a:extLst>
                <a:ext uri="{FF2B5EF4-FFF2-40B4-BE49-F238E27FC236}">
                  <a16:creationId xmlns:a16="http://schemas.microsoft.com/office/drawing/2014/main" id="{A044F907-AF6F-46F4-B892-BC02A9FD2BB4}"/>
                </a:ext>
              </a:extLst>
            </p:cNvPr>
            <p:cNvCxnSpPr>
              <a:cxnSpLocks/>
            </p:cNvCxnSpPr>
            <p:nvPr userDrawn="1">
              <p:custDataLst>
                <p:tags r:id="rId54"/>
              </p:custDataLst>
            </p:nvPr>
          </p:nvCxnSpPr>
          <p:spPr>
            <a:xfrm>
              <a:off x="9109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2" name="Straight Connector 111" hidden="1">
              <a:extLst>
                <a:ext uri="{FF2B5EF4-FFF2-40B4-BE49-F238E27FC236}">
                  <a16:creationId xmlns:a16="http://schemas.microsoft.com/office/drawing/2014/main" id="{E2BCF494-8ECB-4AC3-B516-FB75CA4F4758}"/>
                </a:ext>
              </a:extLst>
            </p:cNvPr>
            <p:cNvCxnSpPr>
              <a:cxnSpLocks/>
            </p:cNvCxnSpPr>
            <p:nvPr userDrawn="1">
              <p:custDataLst>
                <p:tags r:id="rId55"/>
              </p:custDataLst>
            </p:nvPr>
          </p:nvCxnSpPr>
          <p:spPr>
            <a:xfrm>
              <a:off x="8137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3" name="Straight Connector 112" hidden="1">
              <a:extLst>
                <a:ext uri="{FF2B5EF4-FFF2-40B4-BE49-F238E27FC236}">
                  <a16:creationId xmlns:a16="http://schemas.microsoft.com/office/drawing/2014/main" id="{4F0BF6E1-571A-4A10-899A-34FA93380CF5}"/>
                </a:ext>
              </a:extLst>
            </p:cNvPr>
            <p:cNvCxnSpPr>
              <a:cxnSpLocks/>
            </p:cNvCxnSpPr>
            <p:nvPr userDrawn="1">
              <p:custDataLst>
                <p:tags r:id="rId56"/>
              </p:custDataLst>
            </p:nvPr>
          </p:nvCxnSpPr>
          <p:spPr>
            <a:xfrm>
              <a:off x="7165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4" name="Straight Connector 113" hidden="1">
              <a:extLst>
                <a:ext uri="{FF2B5EF4-FFF2-40B4-BE49-F238E27FC236}">
                  <a16:creationId xmlns:a16="http://schemas.microsoft.com/office/drawing/2014/main" id="{EFE4685F-8184-4B37-ADB6-4A77661F791F}"/>
                </a:ext>
              </a:extLst>
            </p:cNvPr>
            <p:cNvCxnSpPr>
              <a:cxnSpLocks/>
            </p:cNvCxnSpPr>
            <p:nvPr userDrawn="1">
              <p:custDataLst>
                <p:tags r:id="rId57"/>
              </p:custDataLst>
            </p:nvPr>
          </p:nvCxnSpPr>
          <p:spPr>
            <a:xfrm>
              <a:off x="6193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5" name="Straight Connector 114" hidden="1">
              <a:extLst>
                <a:ext uri="{FF2B5EF4-FFF2-40B4-BE49-F238E27FC236}">
                  <a16:creationId xmlns:a16="http://schemas.microsoft.com/office/drawing/2014/main" id="{FB657C60-9C8D-4C27-8F8A-03D0F331A361}"/>
                </a:ext>
              </a:extLst>
            </p:cNvPr>
            <p:cNvCxnSpPr>
              <a:cxnSpLocks/>
            </p:cNvCxnSpPr>
            <p:nvPr userDrawn="1">
              <p:custDataLst>
                <p:tags r:id="rId58"/>
              </p:custDataLst>
            </p:nvPr>
          </p:nvCxnSpPr>
          <p:spPr>
            <a:xfrm>
              <a:off x="5221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6" name="Straight Connector 115" hidden="1">
              <a:extLst>
                <a:ext uri="{FF2B5EF4-FFF2-40B4-BE49-F238E27FC236}">
                  <a16:creationId xmlns:a16="http://schemas.microsoft.com/office/drawing/2014/main" id="{F7ABD9BE-03F8-48CD-B3BC-A930462986CD}"/>
                </a:ext>
              </a:extLst>
            </p:cNvPr>
            <p:cNvCxnSpPr>
              <a:cxnSpLocks/>
            </p:cNvCxnSpPr>
            <p:nvPr userDrawn="1">
              <p:custDataLst>
                <p:tags r:id="rId59"/>
              </p:custDataLst>
            </p:nvPr>
          </p:nvCxnSpPr>
          <p:spPr>
            <a:xfrm>
              <a:off x="4249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7" name="Straight Connector 116" hidden="1">
              <a:extLst>
                <a:ext uri="{FF2B5EF4-FFF2-40B4-BE49-F238E27FC236}">
                  <a16:creationId xmlns:a16="http://schemas.microsoft.com/office/drawing/2014/main" id="{9DDAD4FF-AC4C-4824-87EC-362CE3E456C2}"/>
                </a:ext>
              </a:extLst>
            </p:cNvPr>
            <p:cNvCxnSpPr>
              <a:cxnSpLocks/>
            </p:cNvCxnSpPr>
            <p:nvPr userDrawn="1">
              <p:custDataLst>
                <p:tags r:id="rId60"/>
              </p:custDataLst>
            </p:nvPr>
          </p:nvCxnSpPr>
          <p:spPr>
            <a:xfrm>
              <a:off x="3277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8" name="Straight Connector 117" hidden="1">
              <a:extLst>
                <a:ext uri="{FF2B5EF4-FFF2-40B4-BE49-F238E27FC236}">
                  <a16:creationId xmlns:a16="http://schemas.microsoft.com/office/drawing/2014/main" id="{4EC1C75D-B773-4A7A-A705-272F11FC167D}"/>
                </a:ext>
              </a:extLst>
            </p:cNvPr>
            <p:cNvCxnSpPr>
              <a:cxnSpLocks/>
            </p:cNvCxnSpPr>
            <p:nvPr userDrawn="1">
              <p:custDataLst>
                <p:tags r:id="rId61"/>
              </p:custDataLst>
            </p:nvPr>
          </p:nvCxnSpPr>
          <p:spPr>
            <a:xfrm>
              <a:off x="2305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74" name="Grid Support" hidden="1">
            <a:extLst>
              <a:ext uri="{FF2B5EF4-FFF2-40B4-BE49-F238E27FC236}">
                <a16:creationId xmlns:a16="http://schemas.microsoft.com/office/drawing/2014/main" id="{5093255A-77AA-4705-B677-0E1D7A4506A0}"/>
              </a:ext>
            </a:extLst>
          </p:cNvPr>
          <p:cNvGrpSpPr/>
          <p:nvPr userDrawn="1">
            <p:custDataLst>
              <p:tags r:id="rId22"/>
            </p:custDataLst>
          </p:nvPr>
        </p:nvGrpSpPr>
        <p:grpSpPr>
          <a:xfrm>
            <a:off x="-319200" y="-264600"/>
            <a:ext cx="12150674" cy="7336800"/>
            <a:chOff x="-319200" y="-264600"/>
            <a:chExt cx="12150674" cy="7336800"/>
          </a:xfrm>
        </p:grpSpPr>
        <p:grpSp>
          <p:nvGrpSpPr>
            <p:cNvPr id="5" name="Grid Support 12" hidden="1">
              <a:extLst>
                <a:ext uri="{FF2B5EF4-FFF2-40B4-BE49-F238E27FC236}">
                  <a16:creationId xmlns:a16="http://schemas.microsoft.com/office/drawing/2014/main" id="{7B4B4756-C5B2-43E4-ACA4-083446A0DE77}"/>
                </a:ext>
              </a:extLst>
            </p:cNvPr>
            <p:cNvGrpSpPr/>
            <p:nvPr userDrawn="1"/>
          </p:nvGrpSpPr>
          <p:grpSpPr>
            <a:xfrm>
              <a:off x="-319200" y="-264600"/>
              <a:ext cx="12150674" cy="6901200"/>
              <a:chOff x="-319200" y="-264600"/>
              <a:chExt cx="12150674" cy="6901200"/>
            </a:xfrm>
          </p:grpSpPr>
          <p:cxnSp>
            <p:nvCxnSpPr>
              <p:cNvPr id="11" name="Straight Connector 10" hidden="1">
                <a:extLst>
                  <a:ext uri="{FF2B5EF4-FFF2-40B4-BE49-F238E27FC236}">
                    <a16:creationId xmlns:a16="http://schemas.microsoft.com/office/drawing/2014/main" id="{7E7B2023-E1E9-4E99-8B7E-9C9D04AD69AB}"/>
                  </a:ext>
                </a:extLst>
              </p:cNvPr>
              <p:cNvCxnSpPr>
                <a:cxnSpLocks/>
              </p:cNvCxnSpPr>
              <p:nvPr userDrawn="1"/>
            </p:nvCxnSpPr>
            <p:spPr>
              <a:xfrm>
                <a:off x="361950" y="-264600"/>
                <a:ext cx="0" cy="97200"/>
              </a:xfrm>
              <a:prstGeom prst="line">
                <a:avLst/>
              </a:prstGeom>
              <a:solidFill>
                <a:schemeClr val="bg1"/>
              </a:solidFill>
              <a:ln>
                <a:solidFill>
                  <a:schemeClr val="bg1">
                    <a:lumMod val="50000"/>
                  </a:schemeClr>
                </a:solidFill>
              </a:ln>
            </p:spPr>
          </p:cxnSp>
          <p:cxnSp>
            <p:nvCxnSpPr>
              <p:cNvPr id="12" name="Straight Connector 11" hidden="1">
                <a:extLst>
                  <a:ext uri="{FF2B5EF4-FFF2-40B4-BE49-F238E27FC236}">
                    <a16:creationId xmlns:a16="http://schemas.microsoft.com/office/drawing/2014/main" id="{44A21D1C-257C-4ED7-A0DE-88DCB979B030}"/>
                  </a:ext>
                </a:extLst>
              </p:cNvPr>
              <p:cNvCxnSpPr>
                <a:cxnSpLocks/>
              </p:cNvCxnSpPr>
              <p:nvPr userDrawn="1"/>
            </p:nvCxnSpPr>
            <p:spPr>
              <a:xfrm>
                <a:off x="1138800" y="-214200"/>
                <a:ext cx="0" cy="46800"/>
              </a:xfrm>
              <a:prstGeom prst="line">
                <a:avLst/>
              </a:prstGeom>
              <a:solidFill>
                <a:schemeClr val="bg1"/>
              </a:solidFill>
              <a:ln>
                <a:solidFill>
                  <a:schemeClr val="bg1">
                    <a:lumMod val="50000"/>
                  </a:schemeClr>
                </a:solidFill>
              </a:ln>
            </p:spPr>
          </p:cxnSp>
          <p:cxnSp>
            <p:nvCxnSpPr>
              <p:cNvPr id="13" name="Straight Connector 12" hidden="1">
                <a:extLst>
                  <a:ext uri="{FF2B5EF4-FFF2-40B4-BE49-F238E27FC236}">
                    <a16:creationId xmlns:a16="http://schemas.microsoft.com/office/drawing/2014/main" id="{8470DBE5-936E-4227-A342-27E3E102713C}"/>
                  </a:ext>
                </a:extLst>
              </p:cNvPr>
              <p:cNvCxnSpPr>
                <a:cxnSpLocks/>
              </p:cNvCxnSpPr>
              <p:nvPr userDrawn="1"/>
            </p:nvCxnSpPr>
            <p:spPr>
              <a:xfrm>
                <a:off x="1333200" y="-214200"/>
                <a:ext cx="0" cy="46800"/>
              </a:xfrm>
              <a:prstGeom prst="line">
                <a:avLst/>
              </a:prstGeom>
              <a:solidFill>
                <a:schemeClr val="bg1"/>
              </a:solidFill>
              <a:ln>
                <a:solidFill>
                  <a:schemeClr val="bg1">
                    <a:lumMod val="50000"/>
                  </a:schemeClr>
                </a:solidFill>
              </a:ln>
            </p:spPr>
          </p:cxnSp>
          <p:cxnSp>
            <p:nvCxnSpPr>
              <p:cNvPr id="14" name="Straight Connector 13" hidden="1">
                <a:extLst>
                  <a:ext uri="{FF2B5EF4-FFF2-40B4-BE49-F238E27FC236}">
                    <a16:creationId xmlns:a16="http://schemas.microsoft.com/office/drawing/2014/main" id="{37F0AE8D-E357-4137-9AF6-7AC07FE3CC4D}"/>
                  </a:ext>
                </a:extLst>
              </p:cNvPr>
              <p:cNvCxnSpPr>
                <a:cxnSpLocks/>
              </p:cNvCxnSpPr>
              <p:nvPr userDrawn="1"/>
            </p:nvCxnSpPr>
            <p:spPr>
              <a:xfrm>
                <a:off x="2110800" y="-214200"/>
                <a:ext cx="0" cy="46800"/>
              </a:xfrm>
              <a:prstGeom prst="line">
                <a:avLst/>
              </a:prstGeom>
              <a:solidFill>
                <a:schemeClr val="bg1"/>
              </a:solidFill>
              <a:ln>
                <a:solidFill>
                  <a:schemeClr val="bg1">
                    <a:lumMod val="50000"/>
                  </a:schemeClr>
                </a:solidFill>
              </a:ln>
            </p:spPr>
          </p:cxnSp>
          <p:cxnSp>
            <p:nvCxnSpPr>
              <p:cNvPr id="15" name="Straight Connector 14" hidden="1">
                <a:extLst>
                  <a:ext uri="{FF2B5EF4-FFF2-40B4-BE49-F238E27FC236}">
                    <a16:creationId xmlns:a16="http://schemas.microsoft.com/office/drawing/2014/main" id="{69E627FA-9A14-428D-9B99-90D4A467F262}"/>
                  </a:ext>
                </a:extLst>
              </p:cNvPr>
              <p:cNvCxnSpPr>
                <a:cxnSpLocks/>
              </p:cNvCxnSpPr>
              <p:nvPr userDrawn="1"/>
            </p:nvCxnSpPr>
            <p:spPr>
              <a:xfrm>
                <a:off x="2305200" y="-214200"/>
                <a:ext cx="0" cy="46800"/>
              </a:xfrm>
              <a:prstGeom prst="line">
                <a:avLst/>
              </a:prstGeom>
              <a:solidFill>
                <a:schemeClr val="bg1"/>
              </a:solidFill>
              <a:ln>
                <a:solidFill>
                  <a:schemeClr val="bg1">
                    <a:lumMod val="50000"/>
                  </a:schemeClr>
                </a:solidFill>
              </a:ln>
            </p:spPr>
          </p:cxnSp>
          <p:cxnSp>
            <p:nvCxnSpPr>
              <p:cNvPr id="16" name="Straight Connector 15" hidden="1">
                <a:extLst>
                  <a:ext uri="{FF2B5EF4-FFF2-40B4-BE49-F238E27FC236}">
                    <a16:creationId xmlns:a16="http://schemas.microsoft.com/office/drawing/2014/main" id="{FF0BB141-6898-409B-B489-0DFFEB90117F}"/>
                  </a:ext>
                </a:extLst>
              </p:cNvPr>
              <p:cNvCxnSpPr>
                <a:cxnSpLocks/>
              </p:cNvCxnSpPr>
              <p:nvPr userDrawn="1"/>
            </p:nvCxnSpPr>
            <p:spPr>
              <a:xfrm>
                <a:off x="3082800" y="-214200"/>
                <a:ext cx="0" cy="46800"/>
              </a:xfrm>
              <a:prstGeom prst="line">
                <a:avLst/>
              </a:prstGeom>
              <a:solidFill>
                <a:schemeClr val="bg1"/>
              </a:solidFill>
              <a:ln>
                <a:solidFill>
                  <a:schemeClr val="bg1">
                    <a:lumMod val="50000"/>
                  </a:schemeClr>
                </a:solidFill>
              </a:ln>
            </p:spPr>
          </p:cxnSp>
          <p:cxnSp>
            <p:nvCxnSpPr>
              <p:cNvPr id="17" name="Straight Connector 16" hidden="1">
                <a:extLst>
                  <a:ext uri="{FF2B5EF4-FFF2-40B4-BE49-F238E27FC236}">
                    <a16:creationId xmlns:a16="http://schemas.microsoft.com/office/drawing/2014/main" id="{6F530121-CC5A-4302-A337-9AB2DF9F16AE}"/>
                  </a:ext>
                </a:extLst>
              </p:cNvPr>
              <p:cNvCxnSpPr>
                <a:cxnSpLocks/>
              </p:cNvCxnSpPr>
              <p:nvPr userDrawn="1"/>
            </p:nvCxnSpPr>
            <p:spPr>
              <a:xfrm>
                <a:off x="3277200" y="-214200"/>
                <a:ext cx="0" cy="46800"/>
              </a:xfrm>
              <a:prstGeom prst="line">
                <a:avLst/>
              </a:prstGeom>
              <a:solidFill>
                <a:schemeClr val="bg1"/>
              </a:solidFill>
              <a:ln>
                <a:solidFill>
                  <a:schemeClr val="bg1">
                    <a:lumMod val="50000"/>
                  </a:schemeClr>
                </a:solidFill>
              </a:ln>
            </p:spPr>
          </p:cxnSp>
          <p:cxnSp>
            <p:nvCxnSpPr>
              <p:cNvPr id="18" name="Straight Connector 17" hidden="1">
                <a:extLst>
                  <a:ext uri="{FF2B5EF4-FFF2-40B4-BE49-F238E27FC236}">
                    <a16:creationId xmlns:a16="http://schemas.microsoft.com/office/drawing/2014/main" id="{888E11C2-4436-402C-9F15-A47A70FF4707}"/>
                  </a:ext>
                </a:extLst>
              </p:cNvPr>
              <p:cNvCxnSpPr>
                <a:cxnSpLocks/>
              </p:cNvCxnSpPr>
              <p:nvPr userDrawn="1"/>
            </p:nvCxnSpPr>
            <p:spPr>
              <a:xfrm>
                <a:off x="4249200" y="-214200"/>
                <a:ext cx="0" cy="46800"/>
              </a:xfrm>
              <a:prstGeom prst="line">
                <a:avLst/>
              </a:prstGeom>
              <a:solidFill>
                <a:schemeClr val="bg1"/>
              </a:solidFill>
              <a:ln>
                <a:solidFill>
                  <a:schemeClr val="bg1">
                    <a:lumMod val="50000"/>
                  </a:schemeClr>
                </a:solidFill>
              </a:ln>
            </p:spPr>
          </p:cxnSp>
          <p:cxnSp>
            <p:nvCxnSpPr>
              <p:cNvPr id="19" name="Straight Connector 18" hidden="1">
                <a:extLst>
                  <a:ext uri="{FF2B5EF4-FFF2-40B4-BE49-F238E27FC236}">
                    <a16:creationId xmlns:a16="http://schemas.microsoft.com/office/drawing/2014/main" id="{F3DAE3EA-9230-40B0-BC78-F7446BBEEEA6}"/>
                  </a:ext>
                </a:extLst>
              </p:cNvPr>
              <p:cNvCxnSpPr>
                <a:cxnSpLocks/>
              </p:cNvCxnSpPr>
              <p:nvPr userDrawn="1"/>
            </p:nvCxnSpPr>
            <p:spPr>
              <a:xfrm>
                <a:off x="5221200" y="-214200"/>
                <a:ext cx="0" cy="46800"/>
              </a:xfrm>
              <a:prstGeom prst="line">
                <a:avLst/>
              </a:prstGeom>
              <a:solidFill>
                <a:schemeClr val="bg1"/>
              </a:solidFill>
              <a:ln>
                <a:solidFill>
                  <a:schemeClr val="bg1">
                    <a:lumMod val="50000"/>
                  </a:schemeClr>
                </a:solidFill>
              </a:ln>
            </p:spPr>
          </p:cxnSp>
          <p:cxnSp>
            <p:nvCxnSpPr>
              <p:cNvPr id="20" name="Straight Connector 19" hidden="1">
                <a:extLst>
                  <a:ext uri="{FF2B5EF4-FFF2-40B4-BE49-F238E27FC236}">
                    <a16:creationId xmlns:a16="http://schemas.microsoft.com/office/drawing/2014/main" id="{F76FA1D7-AEF4-4B9F-BC78-5960F26395C7}"/>
                  </a:ext>
                </a:extLst>
              </p:cNvPr>
              <p:cNvCxnSpPr>
                <a:cxnSpLocks/>
              </p:cNvCxnSpPr>
              <p:nvPr userDrawn="1"/>
            </p:nvCxnSpPr>
            <p:spPr>
              <a:xfrm>
                <a:off x="6192838" y="-214200"/>
                <a:ext cx="362" cy="46800"/>
              </a:xfrm>
              <a:prstGeom prst="line">
                <a:avLst/>
              </a:prstGeom>
              <a:solidFill>
                <a:schemeClr val="bg1"/>
              </a:solidFill>
              <a:ln>
                <a:solidFill>
                  <a:schemeClr val="bg1">
                    <a:lumMod val="50000"/>
                  </a:schemeClr>
                </a:solidFill>
              </a:ln>
            </p:spPr>
          </p:cxnSp>
          <p:cxnSp>
            <p:nvCxnSpPr>
              <p:cNvPr id="21" name="Straight Connector 20" hidden="1">
                <a:extLst>
                  <a:ext uri="{FF2B5EF4-FFF2-40B4-BE49-F238E27FC236}">
                    <a16:creationId xmlns:a16="http://schemas.microsoft.com/office/drawing/2014/main" id="{F15712E6-FDB5-4D20-A520-2C8DEDF7B110}"/>
                  </a:ext>
                </a:extLst>
              </p:cNvPr>
              <p:cNvCxnSpPr>
                <a:cxnSpLocks/>
              </p:cNvCxnSpPr>
              <p:nvPr userDrawn="1"/>
            </p:nvCxnSpPr>
            <p:spPr>
              <a:xfrm>
                <a:off x="6096362" y="-264600"/>
                <a:ext cx="0" cy="97200"/>
              </a:xfrm>
              <a:prstGeom prst="line">
                <a:avLst/>
              </a:prstGeom>
              <a:solidFill>
                <a:schemeClr val="bg1"/>
              </a:solidFill>
              <a:ln>
                <a:solidFill>
                  <a:schemeClr val="bg1">
                    <a:lumMod val="50000"/>
                  </a:schemeClr>
                </a:solidFill>
              </a:ln>
            </p:spPr>
          </p:cxnSp>
          <p:cxnSp>
            <p:nvCxnSpPr>
              <p:cNvPr id="22" name="Straight Connector 21" hidden="1">
                <a:extLst>
                  <a:ext uri="{FF2B5EF4-FFF2-40B4-BE49-F238E27FC236}">
                    <a16:creationId xmlns:a16="http://schemas.microsoft.com/office/drawing/2014/main" id="{914E28BE-EEC7-4B05-8103-41EC54880E23}"/>
                  </a:ext>
                </a:extLst>
              </p:cNvPr>
              <p:cNvCxnSpPr>
                <a:cxnSpLocks/>
              </p:cNvCxnSpPr>
              <p:nvPr userDrawn="1"/>
            </p:nvCxnSpPr>
            <p:spPr>
              <a:xfrm>
                <a:off x="5998800" y="-214200"/>
                <a:ext cx="0" cy="46800"/>
              </a:xfrm>
              <a:prstGeom prst="line">
                <a:avLst/>
              </a:prstGeom>
              <a:solidFill>
                <a:schemeClr val="bg1"/>
              </a:solidFill>
              <a:ln>
                <a:solidFill>
                  <a:schemeClr val="bg1">
                    <a:lumMod val="50000"/>
                  </a:schemeClr>
                </a:solidFill>
              </a:ln>
            </p:spPr>
          </p:cxnSp>
          <p:cxnSp>
            <p:nvCxnSpPr>
              <p:cNvPr id="23" name="Straight Connector 22" hidden="1">
                <a:extLst>
                  <a:ext uri="{FF2B5EF4-FFF2-40B4-BE49-F238E27FC236}">
                    <a16:creationId xmlns:a16="http://schemas.microsoft.com/office/drawing/2014/main" id="{B12C5B61-99F4-44C2-8C3B-6C10B1BDC97A}"/>
                  </a:ext>
                </a:extLst>
              </p:cNvPr>
              <p:cNvCxnSpPr>
                <a:cxnSpLocks/>
              </p:cNvCxnSpPr>
              <p:nvPr userDrawn="1"/>
            </p:nvCxnSpPr>
            <p:spPr>
              <a:xfrm>
                <a:off x="5028837" y="-214200"/>
                <a:ext cx="0" cy="46800"/>
              </a:xfrm>
              <a:prstGeom prst="line">
                <a:avLst/>
              </a:prstGeom>
              <a:solidFill>
                <a:schemeClr val="bg1"/>
              </a:solidFill>
              <a:ln>
                <a:solidFill>
                  <a:schemeClr val="bg1">
                    <a:lumMod val="50000"/>
                  </a:schemeClr>
                </a:solidFill>
              </a:ln>
            </p:spPr>
          </p:cxnSp>
          <p:cxnSp>
            <p:nvCxnSpPr>
              <p:cNvPr id="24" name="Straight Connector 23" hidden="1">
                <a:extLst>
                  <a:ext uri="{FF2B5EF4-FFF2-40B4-BE49-F238E27FC236}">
                    <a16:creationId xmlns:a16="http://schemas.microsoft.com/office/drawing/2014/main" id="{D867A851-D6C5-4E36-A8E9-0BE6A1318559}"/>
                  </a:ext>
                </a:extLst>
              </p:cNvPr>
              <p:cNvCxnSpPr>
                <a:cxnSpLocks/>
              </p:cNvCxnSpPr>
              <p:nvPr userDrawn="1"/>
            </p:nvCxnSpPr>
            <p:spPr>
              <a:xfrm>
                <a:off x="4054800" y="-214200"/>
                <a:ext cx="0" cy="46800"/>
              </a:xfrm>
              <a:prstGeom prst="line">
                <a:avLst/>
              </a:prstGeom>
              <a:solidFill>
                <a:schemeClr val="bg1"/>
              </a:solidFill>
              <a:ln>
                <a:solidFill>
                  <a:schemeClr val="bg1">
                    <a:lumMod val="50000"/>
                  </a:schemeClr>
                </a:solidFill>
              </a:ln>
            </p:spPr>
          </p:cxnSp>
          <p:cxnSp>
            <p:nvCxnSpPr>
              <p:cNvPr id="25" name="Straight Connector 24" hidden="1">
                <a:extLst>
                  <a:ext uri="{FF2B5EF4-FFF2-40B4-BE49-F238E27FC236}">
                    <a16:creationId xmlns:a16="http://schemas.microsoft.com/office/drawing/2014/main" id="{C0A1ABB9-77F0-4059-83BA-679FFF867B97}"/>
                  </a:ext>
                </a:extLst>
              </p:cNvPr>
              <p:cNvCxnSpPr>
                <a:cxnSpLocks/>
              </p:cNvCxnSpPr>
              <p:nvPr userDrawn="1"/>
            </p:nvCxnSpPr>
            <p:spPr>
              <a:xfrm>
                <a:off x="6970713" y="-214200"/>
                <a:ext cx="362" cy="46800"/>
              </a:xfrm>
              <a:prstGeom prst="line">
                <a:avLst/>
              </a:prstGeom>
              <a:solidFill>
                <a:schemeClr val="bg1"/>
              </a:solidFill>
              <a:ln>
                <a:solidFill>
                  <a:schemeClr val="bg1">
                    <a:lumMod val="50000"/>
                  </a:schemeClr>
                </a:solidFill>
              </a:ln>
            </p:spPr>
          </p:cxnSp>
          <p:cxnSp>
            <p:nvCxnSpPr>
              <p:cNvPr id="26" name="Straight Connector 25" hidden="1">
                <a:extLst>
                  <a:ext uri="{FF2B5EF4-FFF2-40B4-BE49-F238E27FC236}">
                    <a16:creationId xmlns:a16="http://schemas.microsoft.com/office/drawing/2014/main" id="{A0ACFB6C-8583-4A4A-9EF3-F513BA874B8A}"/>
                  </a:ext>
                </a:extLst>
              </p:cNvPr>
              <p:cNvCxnSpPr>
                <a:cxnSpLocks/>
              </p:cNvCxnSpPr>
              <p:nvPr userDrawn="1"/>
            </p:nvCxnSpPr>
            <p:spPr>
              <a:xfrm>
                <a:off x="7165200" y="-214200"/>
                <a:ext cx="362" cy="46800"/>
              </a:xfrm>
              <a:prstGeom prst="line">
                <a:avLst/>
              </a:prstGeom>
              <a:solidFill>
                <a:schemeClr val="bg1"/>
              </a:solidFill>
              <a:ln>
                <a:solidFill>
                  <a:schemeClr val="bg1">
                    <a:lumMod val="50000"/>
                  </a:schemeClr>
                </a:solidFill>
              </a:ln>
            </p:spPr>
          </p:cxnSp>
          <p:cxnSp>
            <p:nvCxnSpPr>
              <p:cNvPr id="27" name="Straight Connector 26" hidden="1">
                <a:extLst>
                  <a:ext uri="{FF2B5EF4-FFF2-40B4-BE49-F238E27FC236}">
                    <a16:creationId xmlns:a16="http://schemas.microsoft.com/office/drawing/2014/main" id="{F89032A5-2D3F-42A1-98AD-78513D27C415}"/>
                  </a:ext>
                </a:extLst>
              </p:cNvPr>
              <p:cNvCxnSpPr>
                <a:cxnSpLocks/>
              </p:cNvCxnSpPr>
              <p:nvPr userDrawn="1"/>
            </p:nvCxnSpPr>
            <p:spPr>
              <a:xfrm>
                <a:off x="7941901" y="-214200"/>
                <a:ext cx="362" cy="46800"/>
              </a:xfrm>
              <a:prstGeom prst="line">
                <a:avLst/>
              </a:prstGeom>
              <a:solidFill>
                <a:schemeClr val="bg1"/>
              </a:solidFill>
              <a:ln>
                <a:solidFill>
                  <a:schemeClr val="bg1">
                    <a:lumMod val="50000"/>
                  </a:schemeClr>
                </a:solidFill>
              </a:ln>
            </p:spPr>
          </p:cxnSp>
          <p:cxnSp>
            <p:nvCxnSpPr>
              <p:cNvPr id="28" name="Straight Connector 27" hidden="1">
                <a:extLst>
                  <a:ext uri="{FF2B5EF4-FFF2-40B4-BE49-F238E27FC236}">
                    <a16:creationId xmlns:a16="http://schemas.microsoft.com/office/drawing/2014/main" id="{1EAAAFDB-E8E1-4AE4-AA46-CEDFC3A64810}"/>
                  </a:ext>
                </a:extLst>
              </p:cNvPr>
              <p:cNvCxnSpPr>
                <a:cxnSpLocks/>
              </p:cNvCxnSpPr>
              <p:nvPr userDrawn="1"/>
            </p:nvCxnSpPr>
            <p:spPr>
              <a:xfrm>
                <a:off x="8137200" y="-214200"/>
                <a:ext cx="362" cy="46800"/>
              </a:xfrm>
              <a:prstGeom prst="line">
                <a:avLst/>
              </a:prstGeom>
              <a:solidFill>
                <a:schemeClr val="bg1"/>
              </a:solidFill>
              <a:ln>
                <a:solidFill>
                  <a:schemeClr val="bg1">
                    <a:lumMod val="50000"/>
                  </a:schemeClr>
                </a:solidFill>
              </a:ln>
            </p:spPr>
          </p:cxnSp>
          <p:cxnSp>
            <p:nvCxnSpPr>
              <p:cNvPr id="29" name="Straight Connector 28" hidden="1">
                <a:extLst>
                  <a:ext uri="{FF2B5EF4-FFF2-40B4-BE49-F238E27FC236}">
                    <a16:creationId xmlns:a16="http://schemas.microsoft.com/office/drawing/2014/main" id="{FB4A9250-F7CE-4523-A2A9-CCD11DB092A3}"/>
                  </a:ext>
                </a:extLst>
              </p:cNvPr>
              <p:cNvCxnSpPr>
                <a:cxnSpLocks/>
              </p:cNvCxnSpPr>
              <p:nvPr userDrawn="1"/>
            </p:nvCxnSpPr>
            <p:spPr>
              <a:xfrm>
                <a:off x="8914644" y="-214200"/>
                <a:ext cx="362" cy="46800"/>
              </a:xfrm>
              <a:prstGeom prst="line">
                <a:avLst/>
              </a:prstGeom>
              <a:solidFill>
                <a:schemeClr val="bg1"/>
              </a:solidFill>
              <a:ln>
                <a:solidFill>
                  <a:schemeClr val="bg1">
                    <a:lumMod val="50000"/>
                  </a:schemeClr>
                </a:solidFill>
              </a:ln>
            </p:spPr>
          </p:cxnSp>
          <p:cxnSp>
            <p:nvCxnSpPr>
              <p:cNvPr id="30" name="Straight Connector 29" hidden="1">
                <a:extLst>
                  <a:ext uri="{FF2B5EF4-FFF2-40B4-BE49-F238E27FC236}">
                    <a16:creationId xmlns:a16="http://schemas.microsoft.com/office/drawing/2014/main" id="{5BA3AC69-A39C-4815-8771-5A6E1BC6E6B6}"/>
                  </a:ext>
                </a:extLst>
              </p:cNvPr>
              <p:cNvCxnSpPr>
                <a:cxnSpLocks/>
              </p:cNvCxnSpPr>
              <p:nvPr userDrawn="1"/>
            </p:nvCxnSpPr>
            <p:spPr>
              <a:xfrm>
                <a:off x="9886800" y="-214200"/>
                <a:ext cx="362" cy="46800"/>
              </a:xfrm>
              <a:prstGeom prst="line">
                <a:avLst/>
              </a:prstGeom>
              <a:solidFill>
                <a:schemeClr val="bg1"/>
              </a:solidFill>
              <a:ln>
                <a:solidFill>
                  <a:schemeClr val="bg1">
                    <a:lumMod val="50000"/>
                  </a:schemeClr>
                </a:solidFill>
              </a:ln>
            </p:spPr>
          </p:cxnSp>
          <p:cxnSp>
            <p:nvCxnSpPr>
              <p:cNvPr id="31" name="Straight Connector 30" hidden="1">
                <a:extLst>
                  <a:ext uri="{FF2B5EF4-FFF2-40B4-BE49-F238E27FC236}">
                    <a16:creationId xmlns:a16="http://schemas.microsoft.com/office/drawing/2014/main" id="{AE6D98D3-AC2E-48DA-BA92-C0B75AD75CC7}"/>
                  </a:ext>
                </a:extLst>
              </p:cNvPr>
              <p:cNvCxnSpPr>
                <a:cxnSpLocks/>
              </p:cNvCxnSpPr>
              <p:nvPr userDrawn="1"/>
            </p:nvCxnSpPr>
            <p:spPr>
              <a:xfrm>
                <a:off x="10858956" y="-214200"/>
                <a:ext cx="362" cy="46800"/>
              </a:xfrm>
              <a:prstGeom prst="line">
                <a:avLst/>
              </a:prstGeom>
              <a:solidFill>
                <a:schemeClr val="bg1"/>
              </a:solidFill>
              <a:ln>
                <a:solidFill>
                  <a:schemeClr val="bg1">
                    <a:lumMod val="50000"/>
                  </a:schemeClr>
                </a:solidFill>
              </a:ln>
            </p:spPr>
          </p:cxnSp>
          <p:cxnSp>
            <p:nvCxnSpPr>
              <p:cNvPr id="32" name="Straight Connector 31" hidden="1">
                <a:extLst>
                  <a:ext uri="{FF2B5EF4-FFF2-40B4-BE49-F238E27FC236}">
                    <a16:creationId xmlns:a16="http://schemas.microsoft.com/office/drawing/2014/main" id="{DCDA0A12-E964-419A-A34C-CEB320DFB537}"/>
                  </a:ext>
                </a:extLst>
              </p:cNvPr>
              <p:cNvCxnSpPr>
                <a:cxnSpLocks/>
              </p:cNvCxnSpPr>
              <p:nvPr userDrawn="1"/>
            </p:nvCxnSpPr>
            <p:spPr>
              <a:xfrm>
                <a:off x="11831474" y="-264600"/>
                <a:ext cx="0" cy="97200"/>
              </a:xfrm>
              <a:prstGeom prst="line">
                <a:avLst/>
              </a:prstGeom>
              <a:solidFill>
                <a:schemeClr val="bg1"/>
              </a:solidFill>
              <a:ln>
                <a:solidFill>
                  <a:schemeClr val="bg1">
                    <a:lumMod val="50000"/>
                  </a:schemeClr>
                </a:solidFill>
              </a:ln>
            </p:spPr>
          </p:cxnSp>
          <p:cxnSp>
            <p:nvCxnSpPr>
              <p:cNvPr id="33" name="Straight Connector 32" hidden="1">
                <a:extLst>
                  <a:ext uri="{FF2B5EF4-FFF2-40B4-BE49-F238E27FC236}">
                    <a16:creationId xmlns:a16="http://schemas.microsoft.com/office/drawing/2014/main" id="{9BF95345-BD17-4AA9-AEF4-0D6CA7D234BE}"/>
                  </a:ext>
                </a:extLst>
              </p:cNvPr>
              <p:cNvCxnSpPr>
                <a:cxnSpLocks/>
              </p:cNvCxnSpPr>
              <p:nvPr userDrawn="1"/>
            </p:nvCxnSpPr>
            <p:spPr>
              <a:xfrm>
                <a:off x="11053763" y="-214200"/>
                <a:ext cx="362" cy="46800"/>
              </a:xfrm>
              <a:prstGeom prst="line">
                <a:avLst/>
              </a:prstGeom>
              <a:solidFill>
                <a:schemeClr val="bg1"/>
              </a:solidFill>
              <a:ln>
                <a:solidFill>
                  <a:schemeClr val="bg1">
                    <a:lumMod val="50000"/>
                  </a:schemeClr>
                </a:solidFill>
              </a:ln>
            </p:spPr>
          </p:cxnSp>
          <p:cxnSp>
            <p:nvCxnSpPr>
              <p:cNvPr id="34" name="Straight Connector 33" hidden="1">
                <a:extLst>
                  <a:ext uri="{FF2B5EF4-FFF2-40B4-BE49-F238E27FC236}">
                    <a16:creationId xmlns:a16="http://schemas.microsoft.com/office/drawing/2014/main" id="{58933637-762C-4D64-AF93-44C075DC57D7}"/>
                  </a:ext>
                </a:extLst>
              </p:cNvPr>
              <p:cNvCxnSpPr>
                <a:cxnSpLocks/>
              </p:cNvCxnSpPr>
              <p:nvPr userDrawn="1"/>
            </p:nvCxnSpPr>
            <p:spPr>
              <a:xfrm>
                <a:off x="10080625" y="-214200"/>
                <a:ext cx="362" cy="46800"/>
              </a:xfrm>
              <a:prstGeom prst="line">
                <a:avLst/>
              </a:prstGeom>
              <a:solidFill>
                <a:schemeClr val="bg1"/>
              </a:solidFill>
              <a:ln>
                <a:solidFill>
                  <a:schemeClr val="bg1">
                    <a:lumMod val="50000"/>
                  </a:schemeClr>
                </a:solidFill>
              </a:ln>
            </p:spPr>
          </p:cxnSp>
          <p:cxnSp>
            <p:nvCxnSpPr>
              <p:cNvPr id="35" name="Straight Connector 34" hidden="1">
                <a:extLst>
                  <a:ext uri="{FF2B5EF4-FFF2-40B4-BE49-F238E27FC236}">
                    <a16:creationId xmlns:a16="http://schemas.microsoft.com/office/drawing/2014/main" id="{22D2957C-F7C5-4375-AA10-7CE0BC4598EA}"/>
                  </a:ext>
                </a:extLst>
              </p:cNvPr>
              <p:cNvCxnSpPr>
                <a:cxnSpLocks/>
              </p:cNvCxnSpPr>
              <p:nvPr userDrawn="1"/>
            </p:nvCxnSpPr>
            <p:spPr>
              <a:xfrm>
                <a:off x="9107487" y="-214200"/>
                <a:ext cx="362" cy="46800"/>
              </a:xfrm>
              <a:prstGeom prst="line">
                <a:avLst/>
              </a:prstGeom>
              <a:solidFill>
                <a:schemeClr val="bg1"/>
              </a:solidFill>
              <a:ln>
                <a:solidFill>
                  <a:schemeClr val="bg1">
                    <a:lumMod val="50000"/>
                  </a:schemeClr>
                </a:solidFill>
              </a:ln>
            </p:spPr>
          </p:cxnSp>
          <p:cxnSp>
            <p:nvCxnSpPr>
              <p:cNvPr id="36" name="Straight Connector 35" hidden="1">
                <a:extLst>
                  <a:ext uri="{FF2B5EF4-FFF2-40B4-BE49-F238E27FC236}">
                    <a16:creationId xmlns:a16="http://schemas.microsoft.com/office/drawing/2014/main" id="{ADAC0123-74E3-4976-B8C1-F0094DCA2894}"/>
                  </a:ext>
                </a:extLst>
              </p:cNvPr>
              <p:cNvCxnSpPr>
                <a:cxnSpLocks/>
              </p:cNvCxnSpPr>
              <p:nvPr userDrawn="1"/>
            </p:nvCxnSpPr>
            <p:spPr>
              <a:xfrm>
                <a:off x="-319200" y="1387475"/>
                <a:ext cx="97200" cy="0"/>
              </a:xfrm>
              <a:prstGeom prst="line">
                <a:avLst/>
              </a:prstGeom>
              <a:solidFill>
                <a:schemeClr val="bg1"/>
              </a:solidFill>
              <a:ln>
                <a:solidFill>
                  <a:schemeClr val="bg1">
                    <a:lumMod val="50000"/>
                  </a:schemeClr>
                </a:solidFill>
              </a:ln>
            </p:spPr>
          </p:cxnSp>
          <p:cxnSp>
            <p:nvCxnSpPr>
              <p:cNvPr id="37" name="Straight Connector 36" hidden="1">
                <a:extLst>
                  <a:ext uri="{FF2B5EF4-FFF2-40B4-BE49-F238E27FC236}">
                    <a16:creationId xmlns:a16="http://schemas.microsoft.com/office/drawing/2014/main" id="{EB849AAA-F05A-4BF7-BDD6-A6F4CBEDCF2B}"/>
                  </a:ext>
                </a:extLst>
              </p:cNvPr>
              <p:cNvCxnSpPr>
                <a:cxnSpLocks/>
              </p:cNvCxnSpPr>
              <p:nvPr userDrawn="1"/>
            </p:nvCxnSpPr>
            <p:spPr>
              <a:xfrm>
                <a:off x="-319200" y="707400"/>
                <a:ext cx="97200" cy="0"/>
              </a:xfrm>
              <a:prstGeom prst="line">
                <a:avLst/>
              </a:prstGeom>
              <a:solidFill>
                <a:schemeClr val="bg1"/>
              </a:solidFill>
              <a:ln>
                <a:solidFill>
                  <a:schemeClr val="bg1">
                    <a:lumMod val="50000"/>
                  </a:schemeClr>
                </a:solidFill>
              </a:ln>
            </p:spPr>
          </p:cxnSp>
          <p:cxnSp>
            <p:nvCxnSpPr>
              <p:cNvPr id="39" name="Straight Connector 38" hidden="1">
                <a:extLst>
                  <a:ext uri="{FF2B5EF4-FFF2-40B4-BE49-F238E27FC236}">
                    <a16:creationId xmlns:a16="http://schemas.microsoft.com/office/drawing/2014/main" id="{D20D86E5-EF96-453B-B5EA-B22A0B90AB0B}"/>
                  </a:ext>
                </a:extLst>
              </p:cNvPr>
              <p:cNvCxnSpPr>
                <a:cxnSpLocks/>
              </p:cNvCxnSpPr>
              <p:nvPr userDrawn="1"/>
            </p:nvCxnSpPr>
            <p:spPr>
              <a:xfrm>
                <a:off x="-319200" y="3429000"/>
                <a:ext cx="97200" cy="0"/>
              </a:xfrm>
              <a:prstGeom prst="line">
                <a:avLst/>
              </a:prstGeom>
              <a:solidFill>
                <a:schemeClr val="bg1"/>
              </a:solidFill>
              <a:ln>
                <a:solidFill>
                  <a:schemeClr val="bg1">
                    <a:lumMod val="50000"/>
                  </a:schemeClr>
                </a:solidFill>
              </a:ln>
            </p:spPr>
          </p:cxnSp>
          <p:cxnSp>
            <p:nvCxnSpPr>
              <p:cNvPr id="40" name="Straight Connector 39" hidden="1">
                <a:extLst>
                  <a:ext uri="{FF2B5EF4-FFF2-40B4-BE49-F238E27FC236}">
                    <a16:creationId xmlns:a16="http://schemas.microsoft.com/office/drawing/2014/main" id="{EB67CCEA-D1EA-4D62-B75B-15865D3C23B8}"/>
                  </a:ext>
                </a:extLst>
              </p:cNvPr>
              <p:cNvCxnSpPr>
                <a:cxnSpLocks/>
              </p:cNvCxnSpPr>
              <p:nvPr userDrawn="1"/>
            </p:nvCxnSpPr>
            <p:spPr>
              <a:xfrm>
                <a:off x="-268800" y="220663"/>
                <a:ext cx="46800" cy="737"/>
              </a:xfrm>
              <a:prstGeom prst="line">
                <a:avLst/>
              </a:prstGeom>
              <a:solidFill>
                <a:schemeClr val="bg1"/>
              </a:solidFill>
              <a:ln>
                <a:solidFill>
                  <a:schemeClr val="bg1">
                    <a:lumMod val="50000"/>
                  </a:schemeClr>
                </a:solidFill>
              </a:ln>
            </p:spPr>
          </p:cxnSp>
          <p:cxnSp>
            <p:nvCxnSpPr>
              <p:cNvPr id="41" name="Straight Connector 40" hidden="1">
                <a:extLst>
                  <a:ext uri="{FF2B5EF4-FFF2-40B4-BE49-F238E27FC236}">
                    <a16:creationId xmlns:a16="http://schemas.microsoft.com/office/drawing/2014/main" id="{FA592660-F6B8-4FC6-A4D7-0C471B7E26C5}"/>
                  </a:ext>
                </a:extLst>
              </p:cNvPr>
              <p:cNvCxnSpPr>
                <a:cxnSpLocks/>
              </p:cNvCxnSpPr>
              <p:nvPr userDrawn="1"/>
            </p:nvCxnSpPr>
            <p:spPr>
              <a:xfrm>
                <a:off x="-268800" y="1192663"/>
                <a:ext cx="46800" cy="737"/>
              </a:xfrm>
              <a:prstGeom prst="line">
                <a:avLst/>
              </a:prstGeom>
              <a:solidFill>
                <a:schemeClr val="bg1"/>
              </a:solidFill>
              <a:ln>
                <a:solidFill>
                  <a:schemeClr val="bg1">
                    <a:lumMod val="50000"/>
                  </a:schemeClr>
                </a:solidFill>
              </a:ln>
            </p:spPr>
          </p:cxnSp>
          <p:cxnSp>
            <p:nvCxnSpPr>
              <p:cNvPr id="42" name="Straight Connector 41" hidden="1">
                <a:extLst>
                  <a:ext uri="{FF2B5EF4-FFF2-40B4-BE49-F238E27FC236}">
                    <a16:creationId xmlns:a16="http://schemas.microsoft.com/office/drawing/2014/main" id="{57401771-FC18-4F30-B5FB-4F3F4FBD35EE}"/>
                  </a:ext>
                </a:extLst>
              </p:cNvPr>
              <p:cNvCxnSpPr>
                <a:cxnSpLocks/>
              </p:cNvCxnSpPr>
              <p:nvPr userDrawn="1"/>
            </p:nvCxnSpPr>
            <p:spPr>
              <a:xfrm>
                <a:off x="-268800" y="2164663"/>
                <a:ext cx="46800" cy="737"/>
              </a:xfrm>
              <a:prstGeom prst="line">
                <a:avLst/>
              </a:prstGeom>
              <a:solidFill>
                <a:schemeClr val="bg1"/>
              </a:solidFill>
              <a:ln>
                <a:solidFill>
                  <a:schemeClr val="bg1">
                    <a:lumMod val="50000"/>
                  </a:schemeClr>
                </a:solidFill>
              </a:ln>
            </p:spPr>
          </p:cxnSp>
          <p:cxnSp>
            <p:nvCxnSpPr>
              <p:cNvPr id="43" name="Straight Connector 42" hidden="1">
                <a:extLst>
                  <a:ext uri="{FF2B5EF4-FFF2-40B4-BE49-F238E27FC236}">
                    <a16:creationId xmlns:a16="http://schemas.microsoft.com/office/drawing/2014/main" id="{6A45D350-0F10-433A-B9BB-5A8D3C91E7BA}"/>
                  </a:ext>
                </a:extLst>
              </p:cNvPr>
              <p:cNvCxnSpPr>
                <a:cxnSpLocks/>
              </p:cNvCxnSpPr>
              <p:nvPr userDrawn="1"/>
            </p:nvCxnSpPr>
            <p:spPr>
              <a:xfrm>
                <a:off x="-268800" y="3136663"/>
                <a:ext cx="46800" cy="737"/>
              </a:xfrm>
              <a:prstGeom prst="line">
                <a:avLst/>
              </a:prstGeom>
              <a:solidFill>
                <a:schemeClr val="bg1"/>
              </a:solidFill>
              <a:ln>
                <a:solidFill>
                  <a:schemeClr val="bg1">
                    <a:lumMod val="50000"/>
                  </a:schemeClr>
                </a:solidFill>
              </a:ln>
            </p:spPr>
          </p:cxnSp>
          <p:cxnSp>
            <p:nvCxnSpPr>
              <p:cNvPr id="44" name="Straight Connector 43" hidden="1">
                <a:extLst>
                  <a:ext uri="{FF2B5EF4-FFF2-40B4-BE49-F238E27FC236}">
                    <a16:creationId xmlns:a16="http://schemas.microsoft.com/office/drawing/2014/main" id="{9A5E6606-9387-441D-A13C-0E4EA1BED0D8}"/>
                  </a:ext>
                </a:extLst>
              </p:cNvPr>
              <p:cNvCxnSpPr>
                <a:cxnSpLocks/>
              </p:cNvCxnSpPr>
              <p:nvPr userDrawn="1"/>
            </p:nvCxnSpPr>
            <p:spPr>
              <a:xfrm>
                <a:off x="-268800" y="4108663"/>
                <a:ext cx="46800" cy="737"/>
              </a:xfrm>
              <a:prstGeom prst="line">
                <a:avLst/>
              </a:prstGeom>
              <a:solidFill>
                <a:schemeClr val="bg1"/>
              </a:solidFill>
              <a:ln>
                <a:solidFill>
                  <a:schemeClr val="bg1">
                    <a:lumMod val="50000"/>
                  </a:schemeClr>
                </a:solidFill>
              </a:ln>
            </p:spPr>
          </p:cxnSp>
          <p:cxnSp>
            <p:nvCxnSpPr>
              <p:cNvPr id="45" name="Straight Connector 44" hidden="1">
                <a:extLst>
                  <a:ext uri="{FF2B5EF4-FFF2-40B4-BE49-F238E27FC236}">
                    <a16:creationId xmlns:a16="http://schemas.microsoft.com/office/drawing/2014/main" id="{56A3D8DE-79F8-446F-9068-2DA5B38E3286}"/>
                  </a:ext>
                </a:extLst>
              </p:cNvPr>
              <p:cNvCxnSpPr>
                <a:cxnSpLocks/>
              </p:cNvCxnSpPr>
              <p:nvPr userDrawn="1"/>
            </p:nvCxnSpPr>
            <p:spPr>
              <a:xfrm>
                <a:off x="-268800" y="5080663"/>
                <a:ext cx="46800" cy="737"/>
              </a:xfrm>
              <a:prstGeom prst="line">
                <a:avLst/>
              </a:prstGeom>
              <a:solidFill>
                <a:schemeClr val="bg1"/>
              </a:solidFill>
              <a:ln>
                <a:solidFill>
                  <a:schemeClr val="bg1">
                    <a:lumMod val="50000"/>
                  </a:schemeClr>
                </a:solidFill>
              </a:ln>
            </p:spPr>
          </p:cxnSp>
          <p:cxnSp>
            <p:nvCxnSpPr>
              <p:cNvPr id="46" name="Straight Connector 45" hidden="1">
                <a:extLst>
                  <a:ext uri="{FF2B5EF4-FFF2-40B4-BE49-F238E27FC236}">
                    <a16:creationId xmlns:a16="http://schemas.microsoft.com/office/drawing/2014/main" id="{8FABA264-DA69-45EB-9D19-22931CB617A7}"/>
                  </a:ext>
                </a:extLst>
              </p:cNvPr>
              <p:cNvCxnSpPr>
                <a:cxnSpLocks/>
              </p:cNvCxnSpPr>
              <p:nvPr userDrawn="1"/>
            </p:nvCxnSpPr>
            <p:spPr>
              <a:xfrm>
                <a:off x="-268800" y="6052663"/>
                <a:ext cx="46800" cy="737"/>
              </a:xfrm>
              <a:prstGeom prst="line">
                <a:avLst/>
              </a:prstGeom>
              <a:solidFill>
                <a:schemeClr val="bg1"/>
              </a:solidFill>
              <a:ln>
                <a:solidFill>
                  <a:schemeClr val="bg1">
                    <a:lumMod val="50000"/>
                  </a:schemeClr>
                </a:solidFill>
              </a:ln>
            </p:spPr>
          </p:cxnSp>
          <p:cxnSp>
            <p:nvCxnSpPr>
              <p:cNvPr id="47" name="Straight Connector 46" hidden="1">
                <a:extLst>
                  <a:ext uri="{FF2B5EF4-FFF2-40B4-BE49-F238E27FC236}">
                    <a16:creationId xmlns:a16="http://schemas.microsoft.com/office/drawing/2014/main" id="{97B7A6E2-CEF0-46E0-AF9D-2659A5A44C94}"/>
                  </a:ext>
                </a:extLst>
              </p:cNvPr>
              <p:cNvCxnSpPr>
                <a:cxnSpLocks/>
              </p:cNvCxnSpPr>
              <p:nvPr userDrawn="1"/>
            </p:nvCxnSpPr>
            <p:spPr>
              <a:xfrm>
                <a:off x="-268800" y="5275800"/>
                <a:ext cx="46800" cy="737"/>
              </a:xfrm>
              <a:prstGeom prst="line">
                <a:avLst/>
              </a:prstGeom>
              <a:solidFill>
                <a:schemeClr val="bg1"/>
              </a:solidFill>
              <a:ln>
                <a:solidFill>
                  <a:schemeClr val="bg1">
                    <a:lumMod val="50000"/>
                  </a:schemeClr>
                </a:solidFill>
              </a:ln>
            </p:spPr>
          </p:cxnSp>
          <p:cxnSp>
            <p:nvCxnSpPr>
              <p:cNvPr id="48" name="Straight Connector 47" hidden="1">
                <a:extLst>
                  <a:ext uri="{FF2B5EF4-FFF2-40B4-BE49-F238E27FC236}">
                    <a16:creationId xmlns:a16="http://schemas.microsoft.com/office/drawing/2014/main" id="{78367FC2-2298-4F09-950C-22D5647348AA}"/>
                  </a:ext>
                </a:extLst>
              </p:cNvPr>
              <p:cNvCxnSpPr>
                <a:cxnSpLocks/>
              </p:cNvCxnSpPr>
              <p:nvPr userDrawn="1"/>
            </p:nvCxnSpPr>
            <p:spPr>
              <a:xfrm>
                <a:off x="-268800" y="4303800"/>
                <a:ext cx="46800" cy="737"/>
              </a:xfrm>
              <a:prstGeom prst="line">
                <a:avLst/>
              </a:prstGeom>
              <a:solidFill>
                <a:schemeClr val="bg1"/>
              </a:solidFill>
              <a:ln>
                <a:solidFill>
                  <a:schemeClr val="bg1">
                    <a:lumMod val="50000"/>
                  </a:schemeClr>
                </a:solidFill>
              </a:ln>
            </p:spPr>
          </p:cxnSp>
          <p:cxnSp>
            <p:nvCxnSpPr>
              <p:cNvPr id="49" name="Straight Connector 48" hidden="1">
                <a:extLst>
                  <a:ext uri="{FF2B5EF4-FFF2-40B4-BE49-F238E27FC236}">
                    <a16:creationId xmlns:a16="http://schemas.microsoft.com/office/drawing/2014/main" id="{66104886-6D72-4B0E-84A9-AB4354AFDDF8}"/>
                  </a:ext>
                </a:extLst>
              </p:cNvPr>
              <p:cNvCxnSpPr>
                <a:cxnSpLocks/>
              </p:cNvCxnSpPr>
              <p:nvPr userDrawn="1"/>
            </p:nvCxnSpPr>
            <p:spPr>
              <a:xfrm>
                <a:off x="-268800" y="3331063"/>
                <a:ext cx="46800" cy="737"/>
              </a:xfrm>
              <a:prstGeom prst="line">
                <a:avLst/>
              </a:prstGeom>
              <a:solidFill>
                <a:schemeClr val="bg1"/>
              </a:solidFill>
              <a:ln>
                <a:solidFill>
                  <a:schemeClr val="bg1">
                    <a:lumMod val="50000"/>
                  </a:schemeClr>
                </a:solidFill>
              </a:ln>
            </p:spPr>
          </p:cxnSp>
          <p:cxnSp>
            <p:nvCxnSpPr>
              <p:cNvPr id="50" name="Straight Connector 49" hidden="1">
                <a:extLst>
                  <a:ext uri="{FF2B5EF4-FFF2-40B4-BE49-F238E27FC236}">
                    <a16:creationId xmlns:a16="http://schemas.microsoft.com/office/drawing/2014/main" id="{E320F828-4AB5-4BB0-B308-358D5F1CDBAF}"/>
                  </a:ext>
                </a:extLst>
              </p:cNvPr>
              <p:cNvCxnSpPr>
                <a:cxnSpLocks/>
              </p:cNvCxnSpPr>
              <p:nvPr userDrawn="1"/>
            </p:nvCxnSpPr>
            <p:spPr>
              <a:xfrm>
                <a:off x="-268800" y="2358326"/>
                <a:ext cx="46800" cy="737"/>
              </a:xfrm>
              <a:prstGeom prst="line">
                <a:avLst/>
              </a:prstGeom>
              <a:solidFill>
                <a:schemeClr val="bg1"/>
              </a:solidFill>
              <a:ln>
                <a:solidFill>
                  <a:schemeClr val="bg1">
                    <a:lumMod val="50000"/>
                  </a:schemeClr>
                </a:solidFill>
              </a:ln>
            </p:spPr>
          </p:cxnSp>
          <p:cxnSp>
            <p:nvCxnSpPr>
              <p:cNvPr id="67" name="Straight Connector 66" hidden="1">
                <a:extLst>
                  <a:ext uri="{FF2B5EF4-FFF2-40B4-BE49-F238E27FC236}">
                    <a16:creationId xmlns:a16="http://schemas.microsoft.com/office/drawing/2014/main" id="{F4DC4B5A-BC44-49DB-85FA-2888CED65139}"/>
                  </a:ext>
                </a:extLst>
              </p:cNvPr>
              <p:cNvCxnSpPr>
                <a:cxnSpLocks/>
              </p:cNvCxnSpPr>
              <p:nvPr userDrawn="1"/>
            </p:nvCxnSpPr>
            <p:spPr>
              <a:xfrm>
                <a:off x="-268800" y="6538663"/>
                <a:ext cx="46800" cy="737"/>
              </a:xfrm>
              <a:prstGeom prst="line">
                <a:avLst/>
              </a:prstGeom>
              <a:solidFill>
                <a:schemeClr val="bg1"/>
              </a:solidFill>
              <a:ln>
                <a:solidFill>
                  <a:schemeClr val="bg1">
                    <a:lumMod val="50000"/>
                  </a:schemeClr>
                </a:solidFill>
              </a:ln>
            </p:spPr>
          </p:cxnSp>
          <p:cxnSp>
            <p:nvCxnSpPr>
              <p:cNvPr id="68" name="Straight Connector 67" hidden="1">
                <a:extLst>
                  <a:ext uri="{FF2B5EF4-FFF2-40B4-BE49-F238E27FC236}">
                    <a16:creationId xmlns:a16="http://schemas.microsoft.com/office/drawing/2014/main" id="{AE7EF40B-F4E6-4902-BE2C-B844F6761B97}"/>
                  </a:ext>
                </a:extLst>
              </p:cNvPr>
              <p:cNvCxnSpPr>
                <a:cxnSpLocks/>
              </p:cNvCxnSpPr>
              <p:nvPr userDrawn="1"/>
            </p:nvCxnSpPr>
            <p:spPr>
              <a:xfrm>
                <a:off x="-268800" y="6635863"/>
                <a:ext cx="46800" cy="737"/>
              </a:xfrm>
              <a:prstGeom prst="line">
                <a:avLst/>
              </a:prstGeom>
              <a:solidFill>
                <a:schemeClr val="bg1"/>
              </a:solidFill>
              <a:ln>
                <a:solidFill>
                  <a:schemeClr val="bg1">
                    <a:lumMod val="50000"/>
                  </a:schemeClr>
                </a:solidFill>
              </a:ln>
            </p:spPr>
          </p:cxnSp>
          <p:cxnSp>
            <p:nvCxnSpPr>
              <p:cNvPr id="69" name="Straight Connector 68" hidden="1">
                <a:extLst>
                  <a:ext uri="{FF2B5EF4-FFF2-40B4-BE49-F238E27FC236}">
                    <a16:creationId xmlns:a16="http://schemas.microsoft.com/office/drawing/2014/main" id="{F69A8D2C-5AAA-4CA0-BB6A-54EA117C7526}"/>
                  </a:ext>
                </a:extLst>
              </p:cNvPr>
              <p:cNvCxnSpPr>
                <a:cxnSpLocks/>
              </p:cNvCxnSpPr>
              <p:nvPr userDrawn="1"/>
            </p:nvCxnSpPr>
            <p:spPr>
              <a:xfrm>
                <a:off x="-268800" y="6345000"/>
                <a:ext cx="46800" cy="737"/>
              </a:xfrm>
              <a:prstGeom prst="line">
                <a:avLst/>
              </a:prstGeom>
              <a:solidFill>
                <a:schemeClr val="bg1"/>
              </a:solidFill>
              <a:ln>
                <a:solidFill>
                  <a:schemeClr val="bg1">
                    <a:lumMod val="50000"/>
                  </a:schemeClr>
                </a:solidFill>
              </a:ln>
            </p:spPr>
          </p:cxnSp>
          <p:cxnSp>
            <p:nvCxnSpPr>
              <p:cNvPr id="70" name="Straight Connector 69" hidden="1">
                <a:extLst>
                  <a:ext uri="{FF2B5EF4-FFF2-40B4-BE49-F238E27FC236}">
                    <a16:creationId xmlns:a16="http://schemas.microsoft.com/office/drawing/2014/main" id="{DEC2589B-B1E7-4D0F-B64F-C28CD8FD7F2E}"/>
                  </a:ext>
                </a:extLst>
              </p:cNvPr>
              <p:cNvCxnSpPr>
                <a:cxnSpLocks/>
              </p:cNvCxnSpPr>
              <p:nvPr userDrawn="1"/>
            </p:nvCxnSpPr>
            <p:spPr>
              <a:xfrm>
                <a:off x="-319200" y="6150600"/>
                <a:ext cx="97200" cy="0"/>
              </a:xfrm>
              <a:prstGeom prst="line">
                <a:avLst/>
              </a:prstGeom>
              <a:solidFill>
                <a:schemeClr val="bg1"/>
              </a:solidFill>
              <a:ln>
                <a:solidFill>
                  <a:schemeClr val="bg1">
                    <a:lumMod val="50000"/>
                  </a:schemeClr>
                </a:solidFill>
              </a:ln>
            </p:spPr>
          </p:cxnSp>
        </p:grpSp>
        <p:cxnSp>
          <p:nvCxnSpPr>
            <p:cNvPr id="55" name="Straight Connector 54" hidden="1">
              <a:extLst>
                <a:ext uri="{FF2B5EF4-FFF2-40B4-BE49-F238E27FC236}">
                  <a16:creationId xmlns:a16="http://schemas.microsoft.com/office/drawing/2014/main" id="{E5C09479-9828-4DCD-89A7-CB24C15B3C5C}"/>
                </a:ext>
              </a:extLst>
            </p:cNvPr>
            <p:cNvCxnSpPr>
              <a:cxnSpLocks/>
            </p:cNvCxnSpPr>
            <p:nvPr userDrawn="1"/>
          </p:nvCxnSpPr>
          <p:spPr>
            <a:xfrm>
              <a:off x="2499600" y="7025400"/>
              <a:ext cx="0" cy="46800"/>
            </a:xfrm>
            <a:prstGeom prst="line">
              <a:avLst/>
            </a:prstGeom>
            <a:solidFill>
              <a:schemeClr val="bg1"/>
            </a:solidFill>
            <a:ln>
              <a:solidFill>
                <a:schemeClr val="bg1">
                  <a:lumMod val="50000"/>
                </a:schemeClr>
              </a:solidFill>
            </a:ln>
          </p:spPr>
        </p:cxnSp>
        <p:cxnSp>
          <p:nvCxnSpPr>
            <p:cNvPr id="56" name="Straight Connector 55" hidden="1">
              <a:extLst>
                <a:ext uri="{FF2B5EF4-FFF2-40B4-BE49-F238E27FC236}">
                  <a16:creationId xmlns:a16="http://schemas.microsoft.com/office/drawing/2014/main" id="{B17C28C9-D54D-4BC7-9C4F-974329C701AE}"/>
                </a:ext>
              </a:extLst>
            </p:cNvPr>
            <p:cNvCxnSpPr>
              <a:cxnSpLocks/>
            </p:cNvCxnSpPr>
            <p:nvPr userDrawn="1"/>
          </p:nvCxnSpPr>
          <p:spPr>
            <a:xfrm>
              <a:off x="2694000" y="7025400"/>
              <a:ext cx="0" cy="46800"/>
            </a:xfrm>
            <a:prstGeom prst="line">
              <a:avLst/>
            </a:prstGeom>
            <a:solidFill>
              <a:schemeClr val="bg1"/>
            </a:solidFill>
            <a:ln>
              <a:solidFill>
                <a:schemeClr val="bg1">
                  <a:lumMod val="50000"/>
                </a:schemeClr>
              </a:solidFill>
            </a:ln>
          </p:spPr>
        </p:cxnSp>
        <p:cxnSp>
          <p:nvCxnSpPr>
            <p:cNvPr id="57" name="Straight Connector 56" hidden="1">
              <a:extLst>
                <a:ext uri="{FF2B5EF4-FFF2-40B4-BE49-F238E27FC236}">
                  <a16:creationId xmlns:a16="http://schemas.microsoft.com/office/drawing/2014/main" id="{E862DE0C-4EC3-4A3E-8D16-5F38C8D08998}"/>
                </a:ext>
              </a:extLst>
            </p:cNvPr>
            <p:cNvCxnSpPr>
              <a:cxnSpLocks/>
            </p:cNvCxnSpPr>
            <p:nvPr userDrawn="1"/>
          </p:nvCxnSpPr>
          <p:spPr>
            <a:xfrm>
              <a:off x="4832400" y="7025400"/>
              <a:ext cx="0" cy="46800"/>
            </a:xfrm>
            <a:prstGeom prst="line">
              <a:avLst/>
            </a:prstGeom>
            <a:solidFill>
              <a:schemeClr val="bg1"/>
            </a:solidFill>
            <a:ln>
              <a:solidFill>
                <a:schemeClr val="bg1">
                  <a:lumMod val="50000"/>
                </a:schemeClr>
              </a:solidFill>
            </a:ln>
          </p:spPr>
        </p:cxnSp>
        <p:cxnSp>
          <p:nvCxnSpPr>
            <p:cNvPr id="58" name="Straight Connector 57" hidden="1">
              <a:extLst>
                <a:ext uri="{FF2B5EF4-FFF2-40B4-BE49-F238E27FC236}">
                  <a16:creationId xmlns:a16="http://schemas.microsoft.com/office/drawing/2014/main" id="{777BA101-CC29-4574-8948-BF288117EDF9}"/>
                </a:ext>
              </a:extLst>
            </p:cNvPr>
            <p:cNvCxnSpPr>
              <a:cxnSpLocks/>
            </p:cNvCxnSpPr>
            <p:nvPr userDrawn="1"/>
          </p:nvCxnSpPr>
          <p:spPr>
            <a:xfrm>
              <a:off x="5026800" y="7025400"/>
              <a:ext cx="0" cy="46800"/>
            </a:xfrm>
            <a:prstGeom prst="line">
              <a:avLst/>
            </a:prstGeom>
            <a:solidFill>
              <a:schemeClr val="bg1"/>
            </a:solidFill>
            <a:ln>
              <a:solidFill>
                <a:schemeClr val="bg1">
                  <a:lumMod val="50000"/>
                </a:schemeClr>
              </a:solidFill>
            </a:ln>
          </p:spPr>
        </p:cxnSp>
        <p:cxnSp>
          <p:nvCxnSpPr>
            <p:cNvPr id="59" name="Straight Connector 58" hidden="1">
              <a:extLst>
                <a:ext uri="{FF2B5EF4-FFF2-40B4-BE49-F238E27FC236}">
                  <a16:creationId xmlns:a16="http://schemas.microsoft.com/office/drawing/2014/main" id="{535E0D0B-E715-4944-BEE7-B00C4D08C3AC}"/>
                </a:ext>
              </a:extLst>
            </p:cNvPr>
            <p:cNvCxnSpPr>
              <a:cxnSpLocks/>
            </p:cNvCxnSpPr>
            <p:nvPr userDrawn="1"/>
          </p:nvCxnSpPr>
          <p:spPr>
            <a:xfrm>
              <a:off x="7165200" y="7025400"/>
              <a:ext cx="0" cy="46800"/>
            </a:xfrm>
            <a:prstGeom prst="line">
              <a:avLst/>
            </a:prstGeom>
            <a:solidFill>
              <a:schemeClr val="bg1"/>
            </a:solidFill>
            <a:ln>
              <a:solidFill>
                <a:schemeClr val="bg1">
                  <a:lumMod val="50000"/>
                </a:schemeClr>
              </a:solidFill>
            </a:ln>
          </p:spPr>
        </p:cxnSp>
        <p:cxnSp>
          <p:nvCxnSpPr>
            <p:cNvPr id="60" name="Straight Connector 59" hidden="1">
              <a:extLst>
                <a:ext uri="{FF2B5EF4-FFF2-40B4-BE49-F238E27FC236}">
                  <a16:creationId xmlns:a16="http://schemas.microsoft.com/office/drawing/2014/main" id="{56E15F15-40A5-41F2-A427-F6C1ECA69C72}"/>
                </a:ext>
              </a:extLst>
            </p:cNvPr>
            <p:cNvCxnSpPr>
              <a:cxnSpLocks/>
            </p:cNvCxnSpPr>
            <p:nvPr userDrawn="1"/>
          </p:nvCxnSpPr>
          <p:spPr>
            <a:xfrm>
              <a:off x="7359600" y="7025400"/>
              <a:ext cx="0" cy="46800"/>
            </a:xfrm>
            <a:prstGeom prst="line">
              <a:avLst/>
            </a:prstGeom>
            <a:solidFill>
              <a:schemeClr val="bg1"/>
            </a:solidFill>
            <a:ln>
              <a:solidFill>
                <a:schemeClr val="bg1">
                  <a:lumMod val="50000"/>
                </a:schemeClr>
              </a:solidFill>
            </a:ln>
          </p:spPr>
        </p:cxnSp>
        <p:cxnSp>
          <p:nvCxnSpPr>
            <p:cNvPr id="61" name="Straight Connector 60" hidden="1">
              <a:extLst>
                <a:ext uri="{FF2B5EF4-FFF2-40B4-BE49-F238E27FC236}">
                  <a16:creationId xmlns:a16="http://schemas.microsoft.com/office/drawing/2014/main" id="{CDDF5946-4E97-4EF0-B904-41DF9812B00E}"/>
                </a:ext>
              </a:extLst>
            </p:cNvPr>
            <p:cNvCxnSpPr>
              <a:cxnSpLocks/>
            </p:cNvCxnSpPr>
            <p:nvPr userDrawn="1"/>
          </p:nvCxnSpPr>
          <p:spPr>
            <a:xfrm>
              <a:off x="9498000" y="7025400"/>
              <a:ext cx="0" cy="46800"/>
            </a:xfrm>
            <a:prstGeom prst="line">
              <a:avLst/>
            </a:prstGeom>
            <a:solidFill>
              <a:schemeClr val="bg1"/>
            </a:solidFill>
            <a:ln>
              <a:solidFill>
                <a:schemeClr val="bg1">
                  <a:lumMod val="50000"/>
                </a:schemeClr>
              </a:solidFill>
            </a:ln>
          </p:spPr>
        </p:cxnSp>
        <p:cxnSp>
          <p:nvCxnSpPr>
            <p:cNvPr id="62" name="Straight Connector 61" hidden="1">
              <a:extLst>
                <a:ext uri="{FF2B5EF4-FFF2-40B4-BE49-F238E27FC236}">
                  <a16:creationId xmlns:a16="http://schemas.microsoft.com/office/drawing/2014/main" id="{4955D088-F681-4F5F-A123-80C5F857D137}"/>
                </a:ext>
              </a:extLst>
            </p:cNvPr>
            <p:cNvCxnSpPr>
              <a:cxnSpLocks/>
            </p:cNvCxnSpPr>
            <p:nvPr userDrawn="1"/>
          </p:nvCxnSpPr>
          <p:spPr>
            <a:xfrm>
              <a:off x="9692400" y="7025400"/>
              <a:ext cx="0" cy="46800"/>
            </a:xfrm>
            <a:prstGeom prst="line">
              <a:avLst/>
            </a:prstGeom>
            <a:solidFill>
              <a:schemeClr val="bg1"/>
            </a:solidFill>
            <a:ln>
              <a:solidFill>
                <a:schemeClr val="bg1">
                  <a:lumMod val="50000"/>
                </a:schemeClr>
              </a:solidFill>
            </a:ln>
          </p:spPr>
        </p:cxnSp>
        <p:cxnSp>
          <p:nvCxnSpPr>
            <p:cNvPr id="63" name="Straight Connector 62" hidden="1">
              <a:extLst>
                <a:ext uri="{FF2B5EF4-FFF2-40B4-BE49-F238E27FC236}">
                  <a16:creationId xmlns:a16="http://schemas.microsoft.com/office/drawing/2014/main" id="{84F4F856-C6C1-44D0-AFD9-6CF5E4494854}"/>
                </a:ext>
              </a:extLst>
            </p:cNvPr>
            <p:cNvCxnSpPr>
              <a:cxnSpLocks/>
            </p:cNvCxnSpPr>
            <p:nvPr userDrawn="1"/>
          </p:nvCxnSpPr>
          <p:spPr>
            <a:xfrm>
              <a:off x="11830800" y="7025400"/>
              <a:ext cx="0" cy="46800"/>
            </a:xfrm>
            <a:prstGeom prst="line">
              <a:avLst/>
            </a:prstGeom>
            <a:solidFill>
              <a:schemeClr val="bg1"/>
            </a:solidFill>
            <a:ln>
              <a:solidFill>
                <a:schemeClr val="bg1">
                  <a:lumMod val="50000"/>
                </a:schemeClr>
              </a:solidFill>
            </a:ln>
          </p:spPr>
        </p:cxnSp>
        <p:cxnSp>
          <p:nvCxnSpPr>
            <p:cNvPr id="64" name="Straight Connector 63" hidden="1">
              <a:extLst>
                <a:ext uri="{FF2B5EF4-FFF2-40B4-BE49-F238E27FC236}">
                  <a16:creationId xmlns:a16="http://schemas.microsoft.com/office/drawing/2014/main" id="{84E48C20-0645-424F-8308-171CE64D6710}"/>
                </a:ext>
              </a:extLst>
            </p:cNvPr>
            <p:cNvCxnSpPr>
              <a:cxnSpLocks/>
            </p:cNvCxnSpPr>
            <p:nvPr userDrawn="1"/>
          </p:nvCxnSpPr>
          <p:spPr>
            <a:xfrm>
              <a:off x="361200" y="7025400"/>
              <a:ext cx="0" cy="46800"/>
            </a:xfrm>
            <a:prstGeom prst="line">
              <a:avLst/>
            </a:prstGeom>
            <a:solidFill>
              <a:schemeClr val="bg1"/>
            </a:solidFill>
            <a:ln>
              <a:solidFill>
                <a:schemeClr val="bg1">
                  <a:lumMod val="50000"/>
                </a:schemeClr>
              </a:solidFill>
            </a:ln>
          </p:spPr>
        </p:cxnSp>
        <p:cxnSp>
          <p:nvCxnSpPr>
            <p:cNvPr id="65" name="Straight Connector 64" hidden="1">
              <a:extLst>
                <a:ext uri="{FF2B5EF4-FFF2-40B4-BE49-F238E27FC236}">
                  <a16:creationId xmlns:a16="http://schemas.microsoft.com/office/drawing/2014/main" id="{598A81EC-3025-44EE-A7CC-7103C47D5689}"/>
                </a:ext>
              </a:extLst>
            </p:cNvPr>
            <p:cNvCxnSpPr>
              <a:cxnSpLocks/>
            </p:cNvCxnSpPr>
            <p:nvPr userDrawn="1"/>
          </p:nvCxnSpPr>
          <p:spPr>
            <a:xfrm>
              <a:off x="6096000" y="7025400"/>
              <a:ext cx="0" cy="46800"/>
            </a:xfrm>
            <a:prstGeom prst="line">
              <a:avLst/>
            </a:prstGeom>
            <a:solidFill>
              <a:schemeClr val="bg1"/>
            </a:solidFill>
            <a:ln>
              <a:solidFill>
                <a:schemeClr val="bg1">
                  <a:lumMod val="50000"/>
                </a:schemeClr>
              </a:solidFill>
            </a:ln>
          </p:spPr>
        </p:cxnSp>
      </p:grpSp>
      <p:sp>
        <p:nvSpPr>
          <p:cNvPr id="6" name="empower - DO NOT DELETE!!!" hidden="1">
            <a:extLst>
              <a:ext uri="{FF2B5EF4-FFF2-40B4-BE49-F238E27FC236}">
                <a16:creationId xmlns:a16="http://schemas.microsoft.com/office/drawing/2014/main" id="{E2C9ABB3-B288-4284-882F-513093277CEA}"/>
              </a:ext>
            </a:extLst>
          </p:cNvPr>
          <p:cNvSpPr/>
          <p:nvPr userDrawn="1">
            <p:custDataLst>
              <p:tags r:id="rId23"/>
            </p:custDataLst>
          </p:nvPr>
        </p:nvSpPr>
        <p:spPr>
          <a:xfrm>
            <a:off x="0" y="0"/>
            <a:ext cx="0" cy="0"/>
          </a:xfrm>
          <a:prstGeom prst="ellipse">
            <a:avLst/>
          </a:prstGeom>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Tree>
  </p:cSld>
  <p:clrMap bg1="lt1" tx1="dk1" bg2="lt2" tx2="dk2" accent1="accent1" accent2="accent2" accent3="accent3" accent4="accent4" accent5="accent5" accent6="accent6" hlink="hlink" folHlink="folHlink"/>
  <p:sldLayoutIdLst>
    <p:sldLayoutId id="2147483798" r:id="rId1"/>
    <p:sldLayoutId id="2147483799" r:id="rId2"/>
    <p:sldLayoutId id="2147483670" r:id="rId3"/>
    <p:sldLayoutId id="2147483667" r:id="rId4"/>
    <p:sldLayoutId id="2147483767" r:id="rId5"/>
    <p:sldLayoutId id="2147483699" r:id="rId6"/>
    <p:sldLayoutId id="2147483679" r:id="rId7"/>
    <p:sldLayoutId id="2147483794" r:id="rId8"/>
    <p:sldLayoutId id="2147483792" r:id="rId9"/>
    <p:sldLayoutId id="2147483790" r:id="rId10"/>
    <p:sldLayoutId id="2147483716" r:id="rId11"/>
    <p:sldLayoutId id="2147483795" r:id="rId12"/>
    <p:sldLayoutId id="2147483797" r:id="rId13"/>
    <p:sldLayoutId id="2147483695" r:id="rId14"/>
    <p:sldLayoutId id="2147483713" r:id="rId15"/>
    <p:sldLayoutId id="2147483800" r:id="rId16"/>
    <p:sldLayoutId id="2147483658" r:id="rId17"/>
  </p:sldLayoutIdLst>
  <p:hf hdr="0" dt="0"/>
  <p:txStyles>
    <p:titleStyle>
      <a:lvl1pPr algn="l" defTabSz="972000" rtl="0" eaLnBrk="1" latinLnBrk="0" hangingPunct="1">
        <a:lnSpc>
          <a:spcPct val="100000"/>
        </a:lnSpc>
        <a:spcBef>
          <a:spcPct val="0"/>
        </a:spcBef>
        <a:buNone/>
        <a:defRPr sz="3200" b="1" i="0" kern="1200" baseline="0">
          <a:solidFill>
            <a:schemeClr val="tx1"/>
          </a:solidFill>
          <a:latin typeface="+mj-lt"/>
          <a:ea typeface="+mj-ea"/>
          <a:cs typeface="+mj-cs"/>
        </a:defRPr>
      </a:lvl1pPr>
      <a:lvl2pPr marL="0" indent="0" algn="l" defTabSz="972000" rtl="0" eaLnBrk="1" latinLnBrk="0" hangingPunct="1">
        <a:lnSpc>
          <a:spcPct val="100000"/>
        </a:lnSpc>
        <a:spcBef>
          <a:spcPts val="0"/>
        </a:spcBef>
        <a:spcAft>
          <a:spcPts val="765"/>
        </a:spcAft>
        <a:buFontTx/>
        <a:buNone/>
        <a:defRPr sz="1600" b="0" i="0" kern="1200" baseline="0">
          <a:solidFill>
            <a:schemeClr val="accent1"/>
          </a:solidFill>
          <a:latin typeface="+mn-lt"/>
          <a:ea typeface="+mj-ea"/>
          <a:cs typeface="+mn-cs"/>
        </a:defRPr>
      </a:lvl2pPr>
      <a:lvl3pPr marL="0" indent="0" algn="l" defTabSz="972000" rtl="0" eaLnBrk="1" latinLnBrk="0" hangingPunct="1">
        <a:lnSpc>
          <a:spcPct val="120000"/>
        </a:lnSpc>
        <a:spcBef>
          <a:spcPts val="0"/>
        </a:spcBef>
        <a:spcAft>
          <a:spcPts val="765"/>
        </a:spcAft>
        <a:buFontTx/>
        <a:buNone/>
        <a:defRPr sz="1600" kern="1200" baseline="0">
          <a:solidFill>
            <a:schemeClr val="tx1"/>
          </a:solidFill>
          <a:latin typeface="+mn-lt"/>
          <a:ea typeface="+mn-ea"/>
          <a:cs typeface="+mn-cs"/>
        </a:defRPr>
      </a:lvl3pPr>
      <a:lvl4pPr marL="0" indent="0" algn="l" defTabSz="972000" rtl="0" eaLnBrk="1" latinLnBrk="0" hangingPunct="1">
        <a:lnSpc>
          <a:spcPct val="120000"/>
        </a:lnSpc>
        <a:spcBef>
          <a:spcPts val="0"/>
        </a:spcBef>
        <a:spcAft>
          <a:spcPts val="765"/>
        </a:spcAft>
        <a:buFontTx/>
        <a:buNone/>
        <a:defRPr sz="1600" b="1" kern="1200" baseline="0">
          <a:solidFill>
            <a:schemeClr val="tx1"/>
          </a:solidFill>
          <a:latin typeface="+mn-lt"/>
          <a:ea typeface="+mn-ea"/>
          <a:cs typeface="+mn-cs"/>
        </a:defRPr>
      </a:lvl4pPr>
      <a:lvl5pPr marL="291600" indent="-291600" algn="l" defTabSz="972000" rtl="0" eaLnBrk="1" latinLnBrk="0" hangingPunct="1">
        <a:lnSpc>
          <a:spcPct val="120000"/>
        </a:lnSpc>
        <a:spcBef>
          <a:spcPts val="0"/>
        </a:spcBef>
        <a:spcAft>
          <a:spcPts val="765"/>
        </a:spcAft>
        <a:buClr>
          <a:schemeClr val="tx1"/>
        </a:buClr>
        <a:buFont typeface="Wingdings" panose="05000000000000000000" pitchFamily="2" charset="2"/>
        <a:buChar char="§"/>
        <a:defRPr sz="1600" kern="1200" baseline="0">
          <a:solidFill>
            <a:schemeClr val="tx1"/>
          </a:solidFill>
          <a:latin typeface="+mn-lt"/>
          <a:ea typeface="+mn-ea"/>
          <a:cs typeface="+mn-cs"/>
        </a:defRPr>
      </a:lvl5pPr>
      <a:lvl6pPr marL="583200" indent="-291600" algn="l" defTabSz="972000" rtl="0" eaLnBrk="1" latinLnBrk="0" hangingPunct="1">
        <a:lnSpc>
          <a:spcPct val="120000"/>
        </a:lnSpc>
        <a:spcBef>
          <a:spcPts val="0"/>
        </a:spcBef>
        <a:spcAft>
          <a:spcPts val="765"/>
        </a:spcAft>
        <a:buClr>
          <a:schemeClr val="tx1"/>
        </a:buClr>
        <a:buFont typeface="Symbol" panose="05050102010706020507" pitchFamily="18" charset="2"/>
        <a:buChar char="-"/>
        <a:defRPr sz="1600" kern="1200" baseline="0">
          <a:solidFill>
            <a:schemeClr val="tx1"/>
          </a:solidFill>
          <a:latin typeface="+mn-lt"/>
          <a:ea typeface="+mn-ea"/>
          <a:cs typeface="+mn-cs"/>
        </a:defRPr>
      </a:lvl6pPr>
      <a:lvl7pPr marL="874800" indent="-291600" algn="l" defTabSz="972000" rtl="0" eaLnBrk="1" latinLnBrk="0" hangingPunct="1">
        <a:lnSpc>
          <a:spcPct val="100000"/>
        </a:lnSpc>
        <a:spcBef>
          <a:spcPts val="0"/>
        </a:spcBef>
        <a:spcAft>
          <a:spcPts val="765"/>
        </a:spcAft>
        <a:buSzPct val="125000"/>
        <a:buFont typeface="Rubik" panose="00000500000000000000" pitchFamily="50" charset="-79"/>
        <a:buChar char="•"/>
        <a:defRPr sz="1400" kern="1200" baseline="0">
          <a:solidFill>
            <a:schemeClr val="tx1"/>
          </a:solidFill>
          <a:latin typeface="+mn-lt"/>
          <a:ea typeface="+mn-ea"/>
          <a:cs typeface="+mn-cs"/>
        </a:defRPr>
      </a:lvl7pPr>
      <a:lvl8pPr marL="0" indent="0" algn="l" defTabSz="972000" rtl="0" eaLnBrk="1" latinLnBrk="0" hangingPunct="1">
        <a:lnSpc>
          <a:spcPct val="100000"/>
        </a:lnSpc>
        <a:spcBef>
          <a:spcPts val="0"/>
        </a:spcBef>
        <a:spcAft>
          <a:spcPts val="765"/>
        </a:spcAft>
        <a:buFontTx/>
        <a:buNone/>
        <a:defRPr sz="1000" kern="1200" baseline="0">
          <a:solidFill>
            <a:schemeClr val="tx1"/>
          </a:solidFill>
          <a:latin typeface="+mn-lt"/>
          <a:ea typeface="+mn-ea"/>
          <a:cs typeface="+mn-cs"/>
        </a:defRPr>
      </a:lvl8pPr>
      <a:lvl9pPr marL="291600" indent="-291600" algn="l" defTabSz="972000" rtl="0" eaLnBrk="1" latinLnBrk="0" hangingPunct="1">
        <a:lnSpc>
          <a:spcPct val="120000"/>
        </a:lnSpc>
        <a:spcBef>
          <a:spcPts val="0"/>
        </a:spcBef>
        <a:spcAft>
          <a:spcPts val="765"/>
        </a:spcAft>
        <a:buClr>
          <a:schemeClr val="tx1"/>
        </a:buClr>
        <a:buFont typeface="+mj-lt"/>
        <a:buAutoNum type="arabicPeriod"/>
        <a:defRPr sz="1600" kern="1200" baseline="0">
          <a:solidFill>
            <a:schemeClr val="tx1"/>
          </a:solidFill>
          <a:latin typeface="+mn-lt"/>
          <a:ea typeface="+mn-ea"/>
          <a:cs typeface="+mn-cs"/>
        </a:defRPr>
      </a:lvl9pPr>
    </p:titleStyle>
    <p:bodyStyle>
      <a:lvl1pPr marL="0" indent="0" algn="l" defTabSz="972000" rtl="0" eaLnBrk="1" latinLnBrk="0" hangingPunct="1">
        <a:lnSpc>
          <a:spcPct val="120000"/>
        </a:lnSpc>
        <a:spcBef>
          <a:spcPts val="0"/>
        </a:spcBef>
        <a:spcAft>
          <a:spcPts val="765"/>
        </a:spcAft>
        <a:buFontTx/>
        <a:buNone/>
        <a:defRPr sz="1600" kern="1200" baseline="0">
          <a:solidFill>
            <a:schemeClr val="tx1"/>
          </a:solidFill>
          <a:latin typeface="+mn-lt"/>
          <a:ea typeface="+mn-ea"/>
          <a:cs typeface="+mn-cs"/>
        </a:defRPr>
      </a:lvl1pPr>
      <a:lvl2pPr marL="0" indent="0" algn="l" defTabSz="972000" rtl="0" eaLnBrk="1" latinLnBrk="0" hangingPunct="1">
        <a:lnSpc>
          <a:spcPct val="120000"/>
        </a:lnSpc>
        <a:spcBef>
          <a:spcPts val="0"/>
        </a:spcBef>
        <a:spcAft>
          <a:spcPts val="765"/>
        </a:spcAft>
        <a:buFontTx/>
        <a:buNone/>
        <a:defRPr sz="1600" b="1" kern="1200" baseline="0">
          <a:solidFill>
            <a:schemeClr val="tx1"/>
          </a:solidFill>
          <a:latin typeface="+mn-lt"/>
          <a:ea typeface="+mn-ea"/>
          <a:cs typeface="+mn-cs"/>
        </a:defRPr>
      </a:lvl2pPr>
      <a:lvl3pPr marL="291600" indent="-291600" algn="l" defTabSz="972000" rtl="0" eaLnBrk="1" latinLnBrk="0" hangingPunct="1">
        <a:lnSpc>
          <a:spcPct val="120000"/>
        </a:lnSpc>
        <a:spcBef>
          <a:spcPts val="0"/>
        </a:spcBef>
        <a:spcAft>
          <a:spcPts val="765"/>
        </a:spcAft>
        <a:buClr>
          <a:schemeClr val="tx1"/>
        </a:buClr>
        <a:buFont typeface="Wingdings" panose="05000000000000000000" pitchFamily="2" charset="2"/>
        <a:buChar char="§"/>
        <a:defRPr sz="1600" kern="1200" baseline="0">
          <a:solidFill>
            <a:schemeClr val="tx1"/>
          </a:solidFill>
          <a:latin typeface="+mn-lt"/>
          <a:ea typeface="+mn-ea"/>
          <a:cs typeface="+mn-cs"/>
        </a:defRPr>
      </a:lvl3pPr>
      <a:lvl4pPr marL="583200" indent="-291600" algn="l" defTabSz="972000" rtl="0" eaLnBrk="1" latinLnBrk="0" hangingPunct="1">
        <a:lnSpc>
          <a:spcPct val="120000"/>
        </a:lnSpc>
        <a:spcBef>
          <a:spcPts val="0"/>
        </a:spcBef>
        <a:spcAft>
          <a:spcPts val="765"/>
        </a:spcAft>
        <a:buClr>
          <a:schemeClr val="tx1"/>
        </a:buClr>
        <a:buFont typeface="Symbol" panose="05050102010706020507" pitchFamily="18" charset="2"/>
        <a:buChar char="-"/>
        <a:defRPr sz="1600" kern="1200" baseline="0">
          <a:solidFill>
            <a:schemeClr val="tx1"/>
          </a:solidFill>
          <a:latin typeface="+mn-lt"/>
          <a:ea typeface="+mn-ea"/>
          <a:cs typeface="+mn-cs"/>
        </a:defRPr>
      </a:lvl4pPr>
      <a:lvl5pPr marL="874800" indent="-291600" algn="l" defTabSz="972000" rtl="0" eaLnBrk="1" latinLnBrk="0" hangingPunct="1">
        <a:lnSpc>
          <a:spcPct val="100000"/>
        </a:lnSpc>
        <a:spcBef>
          <a:spcPts val="0"/>
        </a:spcBef>
        <a:spcAft>
          <a:spcPts val="765"/>
        </a:spcAft>
        <a:buSzPct val="125000"/>
        <a:buFont typeface="Rubik" panose="00000500000000000000" pitchFamily="50" charset="-79"/>
        <a:buChar char="•"/>
        <a:defRPr sz="1400" kern="1200" baseline="0">
          <a:solidFill>
            <a:schemeClr val="tx1"/>
          </a:solidFill>
          <a:latin typeface="+mn-lt"/>
          <a:ea typeface="+mn-ea"/>
          <a:cs typeface="+mn-cs"/>
        </a:defRPr>
      </a:lvl5pPr>
      <a:lvl6pPr marL="291600" indent="-291600" algn="l" defTabSz="972000" rtl="0" eaLnBrk="1" latinLnBrk="0" hangingPunct="1">
        <a:lnSpc>
          <a:spcPct val="120000"/>
        </a:lnSpc>
        <a:spcBef>
          <a:spcPts val="0"/>
        </a:spcBef>
        <a:spcAft>
          <a:spcPts val="765"/>
        </a:spcAft>
        <a:buFont typeface="+mj-lt"/>
        <a:buAutoNum type="arabicPeriod"/>
        <a:defRPr sz="1600" kern="1200" baseline="0">
          <a:solidFill>
            <a:schemeClr val="tx1"/>
          </a:solidFill>
          <a:latin typeface="+mn-lt"/>
          <a:ea typeface="+mn-ea"/>
          <a:cs typeface="+mn-cs"/>
        </a:defRPr>
      </a:lvl6pPr>
      <a:lvl7pPr marL="0" indent="0" algn="l" defTabSz="972000" rtl="0" eaLnBrk="1" latinLnBrk="0" hangingPunct="1">
        <a:lnSpc>
          <a:spcPct val="120000"/>
        </a:lnSpc>
        <a:spcBef>
          <a:spcPts val="0"/>
        </a:spcBef>
        <a:spcAft>
          <a:spcPts val="765"/>
        </a:spcAft>
        <a:buClr>
          <a:schemeClr val="tx1"/>
        </a:buClr>
        <a:buFontTx/>
        <a:buNone/>
        <a:defRPr sz="1400" kern="1200" baseline="0">
          <a:solidFill>
            <a:schemeClr val="tx1"/>
          </a:solidFill>
          <a:latin typeface="+mn-lt"/>
          <a:ea typeface="+mn-ea"/>
          <a:cs typeface="+mn-cs"/>
        </a:defRPr>
      </a:lvl7pPr>
      <a:lvl8pPr marL="0" indent="0" algn="l" defTabSz="972000" rtl="0" eaLnBrk="1" latinLnBrk="0" hangingPunct="1">
        <a:lnSpc>
          <a:spcPct val="120000"/>
        </a:lnSpc>
        <a:spcBef>
          <a:spcPts val="0"/>
        </a:spcBef>
        <a:spcAft>
          <a:spcPts val="765"/>
        </a:spcAft>
        <a:buClr>
          <a:schemeClr val="tx1"/>
        </a:buClr>
        <a:buSzPct val="85000"/>
        <a:buFontTx/>
        <a:buNone/>
        <a:defRPr lang="en-US" sz="1200" kern="1200" baseline="0" dirty="0">
          <a:solidFill>
            <a:schemeClr val="tx1"/>
          </a:solidFill>
          <a:latin typeface="+mn-lt"/>
          <a:ea typeface="+mn-ea"/>
          <a:cs typeface="+mn-cs"/>
        </a:defRPr>
      </a:lvl8pPr>
      <a:lvl9pPr marL="0" indent="0" algn="l" defTabSz="972000" rtl="0" eaLnBrk="1" latinLnBrk="0" hangingPunct="1">
        <a:lnSpc>
          <a:spcPct val="120000"/>
        </a:lnSpc>
        <a:spcBef>
          <a:spcPts val="0"/>
        </a:spcBef>
        <a:spcAft>
          <a:spcPts val="765"/>
        </a:spcAft>
        <a:buClr>
          <a:schemeClr val="tx1"/>
        </a:buClr>
        <a:buSzPct val="85000"/>
        <a:buFontTx/>
        <a:buNone/>
        <a:defRPr sz="1000" kern="1200" baseline="0">
          <a:solidFill>
            <a:schemeClr val="tx1"/>
          </a:solidFill>
          <a:latin typeface="+mn-lt"/>
          <a:ea typeface="+mn-ea"/>
          <a:cs typeface="+mn-cs"/>
        </a:defRPr>
      </a:lvl9pPr>
    </p:bodyStyle>
    <p:otherStyle>
      <a:defPPr>
        <a:defRPr lang="en-US"/>
      </a:defPPr>
      <a:lvl1pPr marL="0" indent="0" algn="l" defTabSz="972000" rtl="0" eaLnBrk="1" latinLnBrk="0" hangingPunct="1">
        <a:defRPr sz="1600" kern="1200">
          <a:solidFill>
            <a:schemeClr val="tx1"/>
          </a:solidFill>
          <a:latin typeface="+mn-lt"/>
          <a:ea typeface="+mn-ea"/>
          <a:cs typeface="+mn-cs"/>
        </a:defRPr>
      </a:lvl1pPr>
      <a:lvl2pPr marL="291600" indent="-291600" algn="l" defTabSz="972000" rtl="0" eaLnBrk="1" latinLnBrk="0" hangingPunct="1">
        <a:defRPr sz="1600" kern="1200">
          <a:solidFill>
            <a:schemeClr val="tx1"/>
          </a:solidFill>
          <a:latin typeface="+mn-lt"/>
          <a:ea typeface="+mn-ea"/>
          <a:cs typeface="+mn-cs"/>
        </a:defRPr>
      </a:lvl2pPr>
      <a:lvl3pPr marL="583200" indent="-583200" algn="l" defTabSz="972000" rtl="0" eaLnBrk="1" latinLnBrk="0" hangingPunct="1">
        <a:defRPr sz="1600" kern="1200">
          <a:solidFill>
            <a:schemeClr val="tx1"/>
          </a:solidFill>
          <a:latin typeface="+mn-lt"/>
          <a:ea typeface="+mn-ea"/>
          <a:cs typeface="+mn-cs"/>
        </a:defRPr>
      </a:lvl3pPr>
      <a:lvl4pPr marL="874800" indent="-874800" algn="l" defTabSz="972000" rtl="0" eaLnBrk="1" latinLnBrk="0" hangingPunct="1">
        <a:defRPr sz="1600" kern="1200">
          <a:solidFill>
            <a:schemeClr val="tx1"/>
          </a:solidFill>
          <a:latin typeface="+mn-lt"/>
          <a:ea typeface="+mn-ea"/>
          <a:cs typeface="+mn-cs"/>
        </a:defRPr>
      </a:lvl4pPr>
      <a:lvl5pPr marL="1166400" indent="-1166400" algn="l" defTabSz="972000" rtl="0" eaLnBrk="1" latinLnBrk="0" hangingPunct="1">
        <a:defRPr sz="1600" kern="1200">
          <a:solidFill>
            <a:schemeClr val="tx1"/>
          </a:solidFill>
          <a:latin typeface="+mn-lt"/>
          <a:ea typeface="+mn-ea"/>
          <a:cs typeface="+mn-cs"/>
        </a:defRPr>
      </a:lvl5pPr>
      <a:lvl6pPr marL="1458000" indent="-1458000" algn="l" defTabSz="972000" rtl="0" eaLnBrk="1" latinLnBrk="0" hangingPunct="1">
        <a:defRPr sz="1600" kern="1200">
          <a:solidFill>
            <a:schemeClr val="tx1"/>
          </a:solidFill>
          <a:latin typeface="+mn-lt"/>
          <a:ea typeface="+mn-ea"/>
          <a:cs typeface="+mn-cs"/>
        </a:defRPr>
      </a:lvl6pPr>
      <a:lvl7pPr marL="1749600" indent="-1749600" algn="l" defTabSz="972000" rtl="0" eaLnBrk="1" latinLnBrk="0" hangingPunct="1">
        <a:defRPr sz="1600" kern="1200">
          <a:solidFill>
            <a:schemeClr val="tx1"/>
          </a:solidFill>
          <a:latin typeface="+mn-lt"/>
          <a:ea typeface="+mn-ea"/>
          <a:cs typeface="+mn-cs"/>
        </a:defRPr>
      </a:lvl7pPr>
      <a:lvl8pPr marL="2041200" indent="-2041200" algn="l" defTabSz="972000" rtl="0" eaLnBrk="1" latinLnBrk="0" hangingPunct="1">
        <a:defRPr sz="1600" kern="1200">
          <a:solidFill>
            <a:schemeClr val="tx1"/>
          </a:solidFill>
          <a:latin typeface="+mn-lt"/>
          <a:ea typeface="+mn-ea"/>
          <a:cs typeface="+mn-cs"/>
        </a:defRPr>
      </a:lvl8pPr>
      <a:lvl9pPr marL="2332800" indent="-2332800" algn="l" defTabSz="972000" rtl="0" eaLnBrk="1" latinLnBrk="0" hangingPunct="1">
        <a:defRPr sz="16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10.xml"/><Relationship Id="rId5" Type="http://schemas.openxmlformats.org/officeDocument/2006/relationships/image" Target="../media/image5.png"/><Relationship Id="rId4" Type="http://schemas.openxmlformats.org/officeDocument/2006/relationships/image" Target="../media/image4.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2" descr="Logo&#10;&#10;Description automatically generated">
            <a:extLst>
              <a:ext uri="{FF2B5EF4-FFF2-40B4-BE49-F238E27FC236}">
                <a16:creationId xmlns:a16="http://schemas.microsoft.com/office/drawing/2014/main" id="{CB3C9A7D-64B2-477C-9ACF-2C6CDE360C76}"/>
              </a:ext>
            </a:extLst>
          </p:cNvPr>
          <p:cNvPicPr>
            <a:picLocks noGrp="1" noChangeAspect="1"/>
          </p:cNvPicPr>
          <p:nvPr>
            <p:ph type="pic" sz="quarter" idx="31"/>
          </p:nvPr>
        </p:nvPicPr>
        <p:blipFill>
          <a:blip r:embed="rId3">
            <a:extLst>
              <a:ext uri="{28A0092B-C50C-407E-A947-70E740481C1C}">
                <a14:useLocalDpi xmlns:a14="http://schemas.microsoft.com/office/drawing/2010/main" val="0"/>
              </a:ext>
            </a:extLst>
          </a:blip>
          <a:srcRect l="683" r="683"/>
          <a:stretch>
            <a:fillRect/>
          </a:stretch>
        </p:blipFill>
        <p:spPr>
          <a:xfrm>
            <a:off x="623392" y="-27383"/>
            <a:ext cx="7416824" cy="4171964"/>
          </a:xfrm>
        </p:spPr>
      </p:pic>
      <p:sp>
        <p:nvSpPr>
          <p:cNvPr id="16" name="Title 15">
            <a:extLst>
              <a:ext uri="{FF2B5EF4-FFF2-40B4-BE49-F238E27FC236}">
                <a16:creationId xmlns:a16="http://schemas.microsoft.com/office/drawing/2014/main" id="{6D6DA9F7-DB64-4567-BE8E-E069C1B10127}"/>
              </a:ext>
            </a:extLst>
          </p:cNvPr>
          <p:cNvSpPr>
            <a:spLocks noGrp="1"/>
          </p:cNvSpPr>
          <p:nvPr>
            <p:ph type="ctrTitle"/>
          </p:nvPr>
        </p:nvSpPr>
        <p:spPr/>
        <p:txBody>
          <a:bodyPr/>
          <a:lstStyle/>
          <a:p>
            <a:r>
              <a:rPr lang="en-US" dirty="0" err="1"/>
              <a:t>BigCartel</a:t>
            </a:r>
            <a:r>
              <a:rPr lang="en-US" dirty="0"/>
              <a:t> Provider</a:t>
            </a:r>
          </a:p>
        </p:txBody>
      </p:sp>
      <p:sp>
        <p:nvSpPr>
          <p:cNvPr id="17" name="Subtitle 16">
            <a:extLst>
              <a:ext uri="{FF2B5EF4-FFF2-40B4-BE49-F238E27FC236}">
                <a16:creationId xmlns:a16="http://schemas.microsoft.com/office/drawing/2014/main" id="{86EFEFE6-40D8-4F98-A8DC-DB4A69331A78}"/>
              </a:ext>
            </a:extLst>
          </p:cNvPr>
          <p:cNvSpPr>
            <a:spLocks noGrp="1"/>
          </p:cNvSpPr>
          <p:nvPr>
            <p:ph type="subTitle" sz="quarter" idx="1"/>
          </p:nvPr>
        </p:nvSpPr>
        <p:spPr>
          <a:xfrm>
            <a:off x="361199" y="5470011"/>
            <a:ext cx="5637963" cy="388989"/>
          </a:xfrm>
        </p:spPr>
        <p:txBody>
          <a:bodyPr/>
          <a:lstStyle/>
          <a:p>
            <a:endParaRPr lang="en-US" dirty="0"/>
          </a:p>
        </p:txBody>
      </p:sp>
      <p:sp>
        <p:nvSpPr>
          <p:cNvPr id="18" name="Text Placeholder 17">
            <a:extLst>
              <a:ext uri="{FF2B5EF4-FFF2-40B4-BE49-F238E27FC236}">
                <a16:creationId xmlns:a16="http://schemas.microsoft.com/office/drawing/2014/main" id="{1A8455E1-E124-45CE-B4DD-AE99CCF9A248}"/>
              </a:ext>
            </a:extLst>
          </p:cNvPr>
          <p:cNvSpPr>
            <a:spLocks noGrp="1"/>
          </p:cNvSpPr>
          <p:nvPr>
            <p:ph type="body" sz="quarter" idx="11"/>
          </p:nvPr>
        </p:nvSpPr>
        <p:spPr/>
        <p:txBody>
          <a:bodyPr/>
          <a:lstStyle/>
          <a:p>
            <a:r>
              <a:rPr lang="en-US" dirty="0"/>
              <a:t>Participants:</a:t>
            </a:r>
          </a:p>
          <a:p>
            <a:r>
              <a:rPr lang="en-US" dirty="0"/>
              <a:t>Niveed Kumar Reddy Bollapally</a:t>
            </a:r>
          </a:p>
          <a:p>
            <a:endParaRPr lang="en-US" dirty="0"/>
          </a:p>
          <a:p>
            <a:endParaRPr lang="en-US" dirty="0"/>
          </a:p>
        </p:txBody>
      </p:sp>
      <p:sp>
        <p:nvSpPr>
          <p:cNvPr id="6" name="Footer Placeholder 5">
            <a:extLst>
              <a:ext uri="{FF2B5EF4-FFF2-40B4-BE49-F238E27FC236}">
                <a16:creationId xmlns:a16="http://schemas.microsoft.com/office/drawing/2014/main" id="{EA64FEAB-448B-4DCC-BAEA-3E1F6EF81DCB}"/>
              </a:ext>
            </a:extLst>
          </p:cNvPr>
          <p:cNvSpPr>
            <a:spLocks noGrp="1"/>
          </p:cNvSpPr>
          <p:nvPr>
            <p:ph type="ftr" sz="quarter" idx="3"/>
          </p:nvPr>
        </p:nvSpPr>
        <p:spPr>
          <a:xfrm>
            <a:off x="361200" y="6539400"/>
            <a:ext cx="5346700" cy="97939"/>
          </a:xfrm>
        </p:spPr>
        <p:txBody>
          <a:bodyPr/>
          <a:lstStyle/>
          <a:p>
            <a:r>
              <a:rPr lang="en-US"/>
              <a:t>© 2021 Software AG. All rights reserved. For internal use only and for Software AG Partners.</a:t>
            </a:r>
            <a:endParaRPr lang="en-US" dirty="0"/>
          </a:p>
        </p:txBody>
      </p:sp>
      <p:sp>
        <p:nvSpPr>
          <p:cNvPr id="7" name="Slide Number Placeholder 6">
            <a:extLst>
              <a:ext uri="{FF2B5EF4-FFF2-40B4-BE49-F238E27FC236}">
                <a16:creationId xmlns:a16="http://schemas.microsoft.com/office/drawing/2014/main" id="{80A65AAB-DDEE-4779-8335-BF20D8D371DA}"/>
              </a:ext>
            </a:extLst>
          </p:cNvPr>
          <p:cNvSpPr>
            <a:spLocks noGrp="1"/>
          </p:cNvSpPr>
          <p:nvPr>
            <p:ph type="sldNum" sz="quarter" idx="4"/>
          </p:nvPr>
        </p:nvSpPr>
        <p:spPr>
          <a:xfrm>
            <a:off x="12186020" y="6852020"/>
            <a:ext cx="3600" cy="3600"/>
          </a:xfrm>
        </p:spPr>
        <p:txBody>
          <a:bodyPr/>
          <a:lstStyle/>
          <a:p>
            <a:fld id="{22FF84AA-2C76-4AF1-8502-73D25D47F37C}" type="slidenum">
              <a:rPr lang="en-US"/>
              <a:pPr/>
              <a:t>1</a:t>
            </a:fld>
            <a:endParaRPr lang="en-US" dirty="0"/>
          </a:p>
        </p:txBody>
      </p:sp>
    </p:spTree>
    <p:extLst>
      <p:ext uri="{BB962C8B-B14F-4D97-AF65-F5344CB8AC3E}">
        <p14:creationId xmlns:p14="http://schemas.microsoft.com/office/powerpoint/2010/main" val="68457108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28F343-BA60-4E08-9E39-5B5A8795CDA4}"/>
              </a:ext>
            </a:extLst>
          </p:cNvPr>
          <p:cNvSpPr>
            <a:spLocks noGrp="1"/>
          </p:cNvSpPr>
          <p:nvPr>
            <p:ph type="title"/>
          </p:nvPr>
        </p:nvSpPr>
        <p:spPr/>
        <p:txBody>
          <a:bodyPr/>
          <a:lstStyle/>
          <a:p>
            <a:r>
              <a:rPr lang="en-US" dirty="0"/>
              <a:t>Big Cartel</a:t>
            </a:r>
          </a:p>
        </p:txBody>
      </p:sp>
      <p:sp>
        <p:nvSpPr>
          <p:cNvPr id="3" name="Footer Placeholder 2">
            <a:extLst>
              <a:ext uri="{FF2B5EF4-FFF2-40B4-BE49-F238E27FC236}">
                <a16:creationId xmlns:a16="http://schemas.microsoft.com/office/drawing/2014/main" id="{3DBC124F-C6BC-499D-B8FF-FA2B9D2B4E2D}"/>
              </a:ext>
            </a:extLst>
          </p:cNvPr>
          <p:cNvSpPr>
            <a:spLocks noGrp="1"/>
          </p:cNvSpPr>
          <p:nvPr>
            <p:ph type="ftr" sz="quarter" idx="3"/>
          </p:nvPr>
        </p:nvSpPr>
        <p:spPr/>
        <p:txBody>
          <a:bodyPr/>
          <a:lstStyle/>
          <a:p>
            <a:r>
              <a:rPr lang="en-US"/>
              <a:t>© 2021 Software AG. All rights reserved. For internal use only and for Software AG Partners.</a:t>
            </a:r>
            <a:endParaRPr lang="en-US" dirty="0"/>
          </a:p>
        </p:txBody>
      </p:sp>
      <p:sp>
        <p:nvSpPr>
          <p:cNvPr id="4" name="Slide Number Placeholder 3">
            <a:extLst>
              <a:ext uri="{FF2B5EF4-FFF2-40B4-BE49-F238E27FC236}">
                <a16:creationId xmlns:a16="http://schemas.microsoft.com/office/drawing/2014/main" id="{1B4E4E8C-7372-4333-906E-A3A873B0671C}"/>
              </a:ext>
            </a:extLst>
          </p:cNvPr>
          <p:cNvSpPr>
            <a:spLocks noGrp="1"/>
          </p:cNvSpPr>
          <p:nvPr>
            <p:ph type="sldNum" sz="quarter" idx="4"/>
          </p:nvPr>
        </p:nvSpPr>
        <p:spPr/>
        <p:txBody>
          <a:bodyPr/>
          <a:lstStyle/>
          <a:p>
            <a:fld id="{22FF84AA-2C76-4AF1-8502-73D25D47F37C}" type="slidenum">
              <a:rPr lang="en-US"/>
              <a:pPr/>
              <a:t>2</a:t>
            </a:fld>
            <a:endParaRPr lang="en-US" dirty="0"/>
          </a:p>
        </p:txBody>
      </p:sp>
      <p:sp>
        <p:nvSpPr>
          <p:cNvPr id="5" name="Subtitle 4">
            <a:extLst>
              <a:ext uri="{FF2B5EF4-FFF2-40B4-BE49-F238E27FC236}">
                <a16:creationId xmlns:a16="http://schemas.microsoft.com/office/drawing/2014/main" id="{3A241BE6-0BF2-4E13-B760-9657E2456D22}"/>
              </a:ext>
            </a:extLst>
          </p:cNvPr>
          <p:cNvSpPr>
            <a:spLocks noGrp="1"/>
          </p:cNvSpPr>
          <p:nvPr>
            <p:ph type="subTitle" sz="quarter" idx="1"/>
          </p:nvPr>
        </p:nvSpPr>
        <p:spPr/>
        <p:txBody>
          <a:bodyPr/>
          <a:lstStyle/>
          <a:p>
            <a:endParaRPr lang="en-US" dirty="0"/>
          </a:p>
        </p:txBody>
      </p:sp>
      <p:sp>
        <p:nvSpPr>
          <p:cNvPr id="6" name="Content Placeholder 5">
            <a:extLst>
              <a:ext uri="{FF2B5EF4-FFF2-40B4-BE49-F238E27FC236}">
                <a16:creationId xmlns:a16="http://schemas.microsoft.com/office/drawing/2014/main" id="{525CBB0E-B869-4882-8948-65DD257EDC97}"/>
              </a:ext>
            </a:extLst>
          </p:cNvPr>
          <p:cNvSpPr>
            <a:spLocks noGrp="1"/>
          </p:cNvSpPr>
          <p:nvPr>
            <p:ph sz="quarter" idx="21"/>
          </p:nvPr>
        </p:nvSpPr>
        <p:spPr/>
        <p:txBody>
          <a:bodyPr/>
          <a:lstStyle/>
          <a:p>
            <a:r>
              <a:rPr lang="en-IN" sz="1800" b="1" u="none" strike="noStrike" kern="0" spc="0" dirty="0">
                <a:ln>
                  <a:noFill/>
                </a:ln>
                <a:solidFill>
                  <a:srgbClr val="006F97"/>
                </a:solidFill>
                <a:effectLst>
                  <a:glow>
                    <a:srgbClr val="000000"/>
                  </a:glow>
                  <a:outerShdw sx="0" sy="0">
                    <a:srgbClr val="000000"/>
                  </a:outerShdw>
                  <a:reflection stA="0" endPos="0" fadeDir="0" sx="0" sy="0"/>
                </a:effectLst>
                <a:latin typeface="Trebuchet MS" panose="020B0603020202020204" pitchFamily="34" charset="0"/>
                <a:ea typeface="Times New Roman" panose="02020603050405020304" pitchFamily="18" charset="0"/>
                <a:cs typeface="Times New Roman" panose="02020603050405020304" pitchFamily="18" charset="0"/>
              </a:rPr>
              <a:t>What is webMethods CloudStreams Provider for </a:t>
            </a:r>
            <a:r>
              <a:rPr lang="en-US" sz="1800" b="1" kern="0" dirty="0">
                <a:solidFill>
                  <a:srgbClr val="006F97"/>
                </a:solidFill>
                <a:effectLst>
                  <a:glow>
                    <a:srgbClr val="000000"/>
                  </a:glow>
                  <a:outerShdw sx="0" sy="0">
                    <a:srgbClr val="000000"/>
                  </a:outerShdw>
                  <a:reflection stA="0" endPos="0" fadeDir="0" sx="0" sy="0"/>
                </a:effectLst>
                <a:latin typeface="Trebuchet MS" panose="020B0603020202020204" pitchFamily="34" charset="0"/>
                <a:ea typeface="Times New Roman" panose="02020603050405020304" pitchFamily="18" charset="0"/>
                <a:cs typeface="Times New Roman" panose="02020603050405020304" pitchFamily="18" charset="0"/>
              </a:rPr>
              <a:t>Big Cartel</a:t>
            </a:r>
          </a:p>
          <a:p>
            <a:r>
              <a:rPr lang="en-US" dirty="0"/>
              <a:t>Briefly explain about the backend.</a:t>
            </a:r>
          </a:p>
          <a:p>
            <a:r>
              <a:rPr lang="en-US" dirty="0"/>
              <a:t>Big Cartel is a cloud-hosted e-commerce platform, meaning you can build and operate your store from any device with internet access. You have the option to use one of its free themes to get your online store up and running, or you can create a truly unique design through its API.</a:t>
            </a:r>
          </a:p>
          <a:p>
            <a:endParaRPr lang="en-US" dirty="0"/>
          </a:p>
          <a:p>
            <a:r>
              <a:rPr lang="en-US" dirty="0"/>
              <a:t>Big Cartel Connector performs CURD operations. Helps in creating, updating, retrieving and deleting products, orders, categories, discounts and shipments for your e-commerce platform.</a:t>
            </a:r>
          </a:p>
          <a:p>
            <a:endParaRPr lang="en-US" dirty="0"/>
          </a:p>
          <a:p>
            <a:r>
              <a:rPr lang="en-US" dirty="0"/>
              <a:t>Big Cartel Connector is a lightweight connector, excellent collaboration and integrates easily.</a:t>
            </a:r>
          </a:p>
          <a:p>
            <a:endParaRPr lang="en-US" dirty="0"/>
          </a:p>
        </p:txBody>
      </p:sp>
    </p:spTree>
    <p:extLst>
      <p:ext uri="{BB962C8B-B14F-4D97-AF65-F5344CB8AC3E}">
        <p14:creationId xmlns:p14="http://schemas.microsoft.com/office/powerpoint/2010/main" val="10225978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29F384B6-4E30-43F2-856C-4931E95D1C09}"/>
              </a:ext>
            </a:extLst>
          </p:cNvPr>
          <p:cNvSpPr>
            <a:spLocks noGrp="1"/>
          </p:cNvSpPr>
          <p:nvPr>
            <p:ph type="ftr" sz="quarter" idx="3"/>
          </p:nvPr>
        </p:nvSpPr>
        <p:spPr>
          <a:xfrm>
            <a:off x="749301" y="6539400"/>
            <a:ext cx="5346700" cy="97938"/>
          </a:xfrm>
        </p:spPr>
        <p:txBody>
          <a:bodyPr anchor="b">
            <a:normAutofit/>
          </a:bodyPr>
          <a:lstStyle/>
          <a:p>
            <a:pPr>
              <a:spcAft>
                <a:spcPts val="600"/>
              </a:spcAft>
            </a:pPr>
            <a:r>
              <a:rPr lang="en-US"/>
              <a:t>© 2021 Software AG. All rights reserved. For internal use only and for Software AG Partners.</a:t>
            </a:r>
          </a:p>
        </p:txBody>
      </p:sp>
      <p:sp>
        <p:nvSpPr>
          <p:cNvPr id="4" name="Slide Number Placeholder 3">
            <a:extLst>
              <a:ext uri="{FF2B5EF4-FFF2-40B4-BE49-F238E27FC236}">
                <a16:creationId xmlns:a16="http://schemas.microsoft.com/office/drawing/2014/main" id="{5F02E374-7038-4DE3-AA02-A2C34A7E519F}"/>
              </a:ext>
            </a:extLst>
          </p:cNvPr>
          <p:cNvSpPr>
            <a:spLocks noGrp="1"/>
          </p:cNvSpPr>
          <p:nvPr>
            <p:ph type="sldNum" sz="quarter" idx="4"/>
          </p:nvPr>
        </p:nvSpPr>
        <p:spPr>
          <a:xfrm>
            <a:off x="361200" y="6539400"/>
            <a:ext cx="388100" cy="97938"/>
          </a:xfrm>
        </p:spPr>
        <p:txBody>
          <a:bodyPr anchor="b">
            <a:normAutofit/>
          </a:bodyPr>
          <a:lstStyle/>
          <a:p>
            <a:pPr>
              <a:spcAft>
                <a:spcPts val="600"/>
              </a:spcAft>
            </a:pPr>
            <a:fld id="{22FF84AA-2C76-4AF1-8502-73D25D47F37C}" type="slidenum">
              <a:rPr lang="en-US" smtClean="0"/>
              <a:pPr>
                <a:spcAft>
                  <a:spcPts val="600"/>
                </a:spcAft>
              </a:pPr>
              <a:t>3</a:t>
            </a:fld>
            <a:endParaRPr lang="en-US"/>
          </a:p>
        </p:txBody>
      </p:sp>
      <p:sp>
        <p:nvSpPr>
          <p:cNvPr id="2" name="Title 1">
            <a:extLst>
              <a:ext uri="{FF2B5EF4-FFF2-40B4-BE49-F238E27FC236}">
                <a16:creationId xmlns:a16="http://schemas.microsoft.com/office/drawing/2014/main" id="{3729475E-5342-4F14-86B6-B051CA586F3F}"/>
              </a:ext>
            </a:extLst>
          </p:cNvPr>
          <p:cNvSpPr>
            <a:spLocks noGrp="1"/>
          </p:cNvSpPr>
          <p:nvPr>
            <p:ph type="title"/>
          </p:nvPr>
        </p:nvSpPr>
        <p:spPr>
          <a:xfrm>
            <a:off x="361200" y="221400"/>
            <a:ext cx="11468100" cy="486625"/>
          </a:xfrm>
        </p:spPr>
        <p:txBody>
          <a:bodyPr anchor="t">
            <a:normAutofit/>
          </a:bodyPr>
          <a:lstStyle/>
          <a:p>
            <a:pPr>
              <a:lnSpc>
                <a:spcPct val="90000"/>
              </a:lnSpc>
            </a:pPr>
            <a:r>
              <a:rPr lang="en-IN"/>
              <a:t>Screenshots for workflow</a:t>
            </a:r>
          </a:p>
        </p:txBody>
      </p:sp>
      <p:sp>
        <p:nvSpPr>
          <p:cNvPr id="26" name="Subtitle 4">
            <a:extLst>
              <a:ext uri="{FF2B5EF4-FFF2-40B4-BE49-F238E27FC236}">
                <a16:creationId xmlns:a16="http://schemas.microsoft.com/office/drawing/2014/main" id="{D9EE78A4-9F9B-4CCF-965B-577CA2A1A397}"/>
              </a:ext>
            </a:extLst>
          </p:cNvPr>
          <p:cNvSpPr>
            <a:spLocks noGrp="1"/>
          </p:cNvSpPr>
          <p:nvPr>
            <p:ph type="subTitle" sz="quarter" idx="1"/>
          </p:nvPr>
        </p:nvSpPr>
        <p:spPr>
          <a:xfrm>
            <a:off x="361200" y="707400"/>
            <a:ext cx="11468100" cy="290513"/>
          </a:xfrm>
        </p:spPr>
        <p:txBody>
          <a:bodyPr/>
          <a:lstStyle/>
          <a:p>
            <a:endParaRPr lang="en-US"/>
          </a:p>
        </p:txBody>
      </p:sp>
      <p:sp>
        <p:nvSpPr>
          <p:cNvPr id="28" name="Text Placeholder 5">
            <a:extLst>
              <a:ext uri="{FF2B5EF4-FFF2-40B4-BE49-F238E27FC236}">
                <a16:creationId xmlns:a16="http://schemas.microsoft.com/office/drawing/2014/main" id="{53B8E1E8-49F4-4789-B379-9DA4C5F4B4B3}"/>
              </a:ext>
            </a:extLst>
          </p:cNvPr>
          <p:cNvSpPr>
            <a:spLocks noGrp="1"/>
          </p:cNvSpPr>
          <p:nvPr>
            <p:ph type="body" sz="quarter" idx="11"/>
          </p:nvPr>
        </p:nvSpPr>
        <p:spPr>
          <a:xfrm>
            <a:off x="361200" y="4303800"/>
            <a:ext cx="2720851" cy="1749337"/>
          </a:xfrm>
        </p:spPr>
        <p:txBody>
          <a:bodyPr/>
          <a:lstStyle/>
          <a:p>
            <a:r>
              <a:rPr lang="en-US" dirty="0"/>
              <a:t>Workflow which helps in getting account details, product info, categories, orders, discounts and shipments details. </a:t>
            </a:r>
          </a:p>
          <a:p>
            <a:endParaRPr lang="en-US" dirty="0"/>
          </a:p>
        </p:txBody>
      </p:sp>
      <p:sp>
        <p:nvSpPr>
          <p:cNvPr id="30" name="Text Placeholder 6">
            <a:extLst>
              <a:ext uri="{FF2B5EF4-FFF2-40B4-BE49-F238E27FC236}">
                <a16:creationId xmlns:a16="http://schemas.microsoft.com/office/drawing/2014/main" id="{C59112FE-D504-4010-ABF5-19A0D3328820}"/>
              </a:ext>
            </a:extLst>
          </p:cNvPr>
          <p:cNvSpPr>
            <a:spLocks noGrp="1"/>
          </p:cNvSpPr>
          <p:nvPr>
            <p:ph type="body" sz="quarter" idx="12"/>
          </p:nvPr>
        </p:nvSpPr>
        <p:spPr>
          <a:xfrm>
            <a:off x="3277200" y="4303800"/>
            <a:ext cx="2720851" cy="1749337"/>
          </a:xfrm>
        </p:spPr>
        <p:txBody>
          <a:bodyPr/>
          <a:lstStyle/>
          <a:p>
            <a:r>
              <a:rPr lang="en-US" dirty="0"/>
              <a:t>Select the operation to be performed by the connector.</a:t>
            </a:r>
          </a:p>
          <a:p>
            <a:endParaRPr lang="en-US" dirty="0"/>
          </a:p>
        </p:txBody>
      </p:sp>
      <p:sp>
        <p:nvSpPr>
          <p:cNvPr id="32" name="Text Placeholder 7">
            <a:extLst>
              <a:ext uri="{FF2B5EF4-FFF2-40B4-BE49-F238E27FC236}">
                <a16:creationId xmlns:a16="http://schemas.microsoft.com/office/drawing/2014/main" id="{E22E5B81-4045-4766-BE67-DC49125EFF18}"/>
              </a:ext>
            </a:extLst>
          </p:cNvPr>
          <p:cNvSpPr>
            <a:spLocks noGrp="1"/>
          </p:cNvSpPr>
          <p:nvPr>
            <p:ph type="body" sz="quarter" idx="13"/>
          </p:nvPr>
        </p:nvSpPr>
        <p:spPr>
          <a:xfrm>
            <a:off x="6193200" y="4303800"/>
            <a:ext cx="2720851" cy="1749337"/>
          </a:xfrm>
        </p:spPr>
        <p:txBody>
          <a:bodyPr/>
          <a:lstStyle/>
          <a:p>
            <a:r>
              <a:rPr lang="en-US" dirty="0"/>
              <a:t>Mapping the data for the action.</a:t>
            </a:r>
          </a:p>
          <a:p>
            <a:endParaRPr lang="en-US" dirty="0"/>
          </a:p>
        </p:txBody>
      </p:sp>
      <p:sp>
        <p:nvSpPr>
          <p:cNvPr id="25" name="Text Placeholder 8">
            <a:extLst>
              <a:ext uri="{FF2B5EF4-FFF2-40B4-BE49-F238E27FC236}">
                <a16:creationId xmlns:a16="http://schemas.microsoft.com/office/drawing/2014/main" id="{1E3D0FD7-5025-42EF-9044-CE7F8D16BA0D}"/>
              </a:ext>
            </a:extLst>
          </p:cNvPr>
          <p:cNvSpPr>
            <a:spLocks noGrp="1"/>
          </p:cNvSpPr>
          <p:nvPr>
            <p:ph type="body" sz="quarter" idx="14"/>
          </p:nvPr>
        </p:nvSpPr>
        <p:spPr>
          <a:xfrm>
            <a:off x="9109200" y="4303800"/>
            <a:ext cx="2720851" cy="1749337"/>
          </a:xfrm>
        </p:spPr>
        <p:txBody>
          <a:bodyPr/>
          <a:lstStyle/>
          <a:p>
            <a:r>
              <a:rPr lang="en-US" dirty="0"/>
              <a:t>Logger information of the connecter data.</a:t>
            </a:r>
          </a:p>
          <a:p>
            <a:endParaRPr lang="en-US" dirty="0"/>
          </a:p>
        </p:txBody>
      </p:sp>
      <p:sp>
        <p:nvSpPr>
          <p:cNvPr id="27" name="Content Placeholder 9">
            <a:extLst>
              <a:ext uri="{FF2B5EF4-FFF2-40B4-BE49-F238E27FC236}">
                <a16:creationId xmlns:a16="http://schemas.microsoft.com/office/drawing/2014/main" id="{CCA9955A-7AA3-42F9-8B43-3F033384A722}"/>
              </a:ext>
            </a:extLst>
          </p:cNvPr>
          <p:cNvSpPr>
            <a:spLocks noGrp="1"/>
          </p:cNvSpPr>
          <p:nvPr>
            <p:ph sz="quarter" idx="21"/>
          </p:nvPr>
        </p:nvSpPr>
        <p:spPr>
          <a:xfrm>
            <a:off x="361200" y="1387801"/>
            <a:ext cx="2720851" cy="2380918"/>
          </a:xfrm>
        </p:spPr>
        <p:txBody>
          <a:bodyPr/>
          <a:lstStyle/>
          <a:p>
            <a:endParaRPr lang="en-US"/>
          </a:p>
        </p:txBody>
      </p:sp>
      <p:pic>
        <p:nvPicPr>
          <p:cNvPr id="12" name="Content Placeholder 11">
            <a:extLst>
              <a:ext uri="{FF2B5EF4-FFF2-40B4-BE49-F238E27FC236}">
                <a16:creationId xmlns:a16="http://schemas.microsoft.com/office/drawing/2014/main" id="{3404DF2C-B6B3-43D1-B7CB-52D9224C7980}"/>
              </a:ext>
            </a:extLst>
          </p:cNvPr>
          <p:cNvPicPr>
            <a:picLocks noGrp="1" noChangeAspect="1"/>
          </p:cNvPicPr>
          <p:nvPr>
            <p:ph sz="quarter" idx="22"/>
          </p:nvPr>
        </p:nvPicPr>
        <p:blipFill>
          <a:blip r:embed="rId2"/>
          <a:stretch>
            <a:fillRect/>
          </a:stretch>
        </p:blipFill>
        <p:spPr>
          <a:xfrm>
            <a:off x="361199" y="1783274"/>
            <a:ext cx="2720851" cy="1695432"/>
          </a:xfrm>
          <a:noFill/>
        </p:spPr>
      </p:pic>
      <p:pic>
        <p:nvPicPr>
          <p:cNvPr id="16" name="Content Placeholder 15">
            <a:extLst>
              <a:ext uri="{FF2B5EF4-FFF2-40B4-BE49-F238E27FC236}">
                <a16:creationId xmlns:a16="http://schemas.microsoft.com/office/drawing/2014/main" id="{02C6F906-DE24-4EF3-9675-5583F43A4B43}"/>
              </a:ext>
            </a:extLst>
          </p:cNvPr>
          <p:cNvPicPr>
            <a:picLocks noGrp="1" noChangeAspect="1"/>
          </p:cNvPicPr>
          <p:nvPr>
            <p:ph sz="quarter" idx="23"/>
          </p:nvPr>
        </p:nvPicPr>
        <p:blipFill>
          <a:blip r:embed="rId3"/>
          <a:stretch>
            <a:fillRect/>
          </a:stretch>
        </p:blipFill>
        <p:spPr>
          <a:xfrm>
            <a:off x="6224549" y="1876842"/>
            <a:ext cx="2720975" cy="1552158"/>
          </a:xfrm>
        </p:spPr>
      </p:pic>
      <p:pic>
        <p:nvPicPr>
          <p:cNvPr id="20" name="Content Placeholder 19">
            <a:extLst>
              <a:ext uri="{FF2B5EF4-FFF2-40B4-BE49-F238E27FC236}">
                <a16:creationId xmlns:a16="http://schemas.microsoft.com/office/drawing/2014/main" id="{3D9516A1-BC1E-44B5-8392-4D563B41FD53}"/>
              </a:ext>
            </a:extLst>
          </p:cNvPr>
          <p:cNvPicPr>
            <a:picLocks noGrp="1" noChangeAspect="1"/>
          </p:cNvPicPr>
          <p:nvPr>
            <p:ph sz="quarter" idx="24"/>
          </p:nvPr>
        </p:nvPicPr>
        <p:blipFill>
          <a:blip r:embed="rId4"/>
          <a:stretch>
            <a:fillRect/>
          </a:stretch>
        </p:blipFill>
        <p:spPr>
          <a:xfrm>
            <a:off x="9135180" y="1880964"/>
            <a:ext cx="2720975" cy="1537453"/>
          </a:xfrm>
        </p:spPr>
      </p:pic>
      <p:pic>
        <p:nvPicPr>
          <p:cNvPr id="14" name="Picture 13">
            <a:extLst>
              <a:ext uri="{FF2B5EF4-FFF2-40B4-BE49-F238E27FC236}">
                <a16:creationId xmlns:a16="http://schemas.microsoft.com/office/drawing/2014/main" id="{E9B22016-F9D3-4D60-961F-8D7DA54CBC62}"/>
              </a:ext>
            </a:extLst>
          </p:cNvPr>
          <p:cNvPicPr>
            <a:picLocks noChangeAspect="1"/>
          </p:cNvPicPr>
          <p:nvPr/>
        </p:nvPicPr>
        <p:blipFill>
          <a:blip r:embed="rId5"/>
          <a:stretch>
            <a:fillRect/>
          </a:stretch>
        </p:blipFill>
        <p:spPr>
          <a:xfrm>
            <a:off x="3300363" y="1820676"/>
            <a:ext cx="2720852" cy="1658030"/>
          </a:xfrm>
          <a:prstGeom prst="rect">
            <a:avLst/>
          </a:prstGeom>
        </p:spPr>
      </p:pic>
    </p:spTree>
    <p:extLst>
      <p:ext uri="{BB962C8B-B14F-4D97-AF65-F5344CB8AC3E}">
        <p14:creationId xmlns:p14="http://schemas.microsoft.com/office/powerpoint/2010/main" val="13367727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17254AEB-7560-4FDF-83DE-ACEDD50906ED}"/>
              </a:ext>
            </a:extLst>
          </p:cNvPr>
          <p:cNvSpPr>
            <a:spLocks noGrp="1"/>
          </p:cNvSpPr>
          <p:nvPr>
            <p:ph type="ftr" sz="quarter" idx="3"/>
          </p:nvPr>
        </p:nvSpPr>
        <p:spPr/>
        <p:txBody>
          <a:bodyPr/>
          <a:lstStyle/>
          <a:p>
            <a:r>
              <a:rPr lang="en-US"/>
              <a:t>© 2021 Software AG. All rights reserved. For internal use only and for Software AG Partners.</a:t>
            </a:r>
            <a:endParaRPr lang="en-US" dirty="0"/>
          </a:p>
        </p:txBody>
      </p:sp>
      <p:sp>
        <p:nvSpPr>
          <p:cNvPr id="3" name="Slide Number Placeholder 2">
            <a:extLst>
              <a:ext uri="{FF2B5EF4-FFF2-40B4-BE49-F238E27FC236}">
                <a16:creationId xmlns:a16="http://schemas.microsoft.com/office/drawing/2014/main" id="{7C63E64A-9F9B-478B-85FC-2B62EB076A62}"/>
              </a:ext>
            </a:extLst>
          </p:cNvPr>
          <p:cNvSpPr>
            <a:spLocks noGrp="1"/>
          </p:cNvSpPr>
          <p:nvPr>
            <p:ph type="sldNum" sz="quarter" idx="4"/>
          </p:nvPr>
        </p:nvSpPr>
        <p:spPr/>
        <p:txBody>
          <a:bodyPr/>
          <a:lstStyle/>
          <a:p>
            <a:fld id="{22FF84AA-2C76-4AF1-8502-73D25D47F37C}" type="slidenum">
              <a:rPr lang="en-US"/>
              <a:pPr/>
              <a:t>4</a:t>
            </a:fld>
            <a:endParaRPr lang="en-US" dirty="0"/>
          </a:p>
        </p:txBody>
      </p:sp>
    </p:spTree>
    <p:extLst>
      <p:ext uri="{BB962C8B-B14F-4D97-AF65-F5344CB8AC3E}">
        <p14:creationId xmlns:p14="http://schemas.microsoft.com/office/powerpoint/2010/main" val="15343322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IAAAAAAAAAAwAAAAMAAAAA/////wQAMwwAAAAAAAAAAAAAIAD///////////////8AAAD///////////////8DAAAAAgD///////8DAAAAAgD///////////////////////////////////////////////////////////////////////////////////////////////////////////////////////////////////////////////////////////////////////////////////////////////////////////////////////////////////////////////////////////////////////////////////////////////////////////////////////////////////////////////////////////////////////////////////////////////////////////////////////////////////////////////////////////////////////////////////////////////8BACAA////////////////AAAO////////AwAAAAMA////////////////////////////////////////////////////////////////////////////////////////////////////////////////////////////////////////////////////////////////////////////////////////////////////////////////////////////////////////////////////////////////////////////////////////////////////////////////////////////////////////////////////////////////////////////////////////////////////////////////////////////////////////////////////////////////////////////////////////////////////////////////////////AgACAP///////wQAAAACABAAC9JDljU/PhpEmFUl5ZWCyGEFAAAAAAADAAAAAAADAAAAAwADAAAAAAADAAAAAwADAAIA////////BAAAAAMAEAALkruFkLriG0enhO1h8VkO1QUAAAABAAMAAAACAAMAAAABAAMAAAACAP///////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CAMAAAAAAAAAAAAACAB////////////////AAAA////////////////BAAAAAMA////////BAAAAAMA////////////////////////////////////////////////////////////////////////////////////////////////////////////////////////////////////////////////////////////////////////////////////////////////////////////////////////////////////////////////////////////////////////////////////////////////////////////////////////////////////////////////////////////////////////////////////////////////////////////////////////////////////////////////////////////////////////////////////////////////AQAgAf///////////////wAADv///////wQAAAACAP///////////////////////////////////////////////////////////////////////////////////////////////////////////////////////////////////////////////////////////////////////////////////////////////////////////////////////////////////////////////////////////////////////////////////////////////////////////////////////////////////////////////////////////////////////////////////////////////////////////////////////////////////////////////////////////////////////////////////////////////////////////////////////wIAAQEDAAAAAgD///////8aAAZMaW5rZWRTaGFwZXNEYXRhUHJvcGVydHlfMAUAAAAAAAQAAAADAAQAAAABAAMAAgEDAAAAAwD///////8lAAZMaW5rZWRTaGFwZVByZXNlbnRhdGlvblNldHRpbmdzRGF0YV8wBQAAAAEABAAAAAAABAAAAAI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3DgAAAAAAAAAAAAD/////gwCDAAAABV9pZAAQAAAABNJDljU/PhpEmFUl5ZWCyGEDRGF0YQAbAAAABExpbmtlZFNoYXBlRGF0YQAFAAAAAAACTmFtZQAZAAAATGlua2VkU2hhcGVzRGF0YVByb3BlcnR5ABBWZXJzaW9uAAAAAAAJTGFzdFdyaXRlAMVHDqp3AQAAAAEA/////50AnQAAAAVfaWQAEAAAAASSu4WQuuIbR6eE7WHxWQ7VA0RhdGEAKgAAAAhQcmVzZW50YXRpb25TY2FubmVkRm9yTGlua2VkU2hhcGVzAAEAAk5hbWUAJAAAAExpbmtlZFNoYXBlUHJlc2VudGF0aW9uU2V0dGluZ3NEYXRhABBWZXJzaW9uAAAAAAAJTGFzdFdyaXRlACNIDqp3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 name="INFINEON_CATEGORY" val="{&quot;CategoryList&quot;:[],&quot;CategoryDictionary&quot;:{}}"/>
  <p:tag name="MIO_PRESENTATION_LANGUAGE" val="1033"/>
</p:tagLst>
</file>

<file path=ppt/tags/tag1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xml><?xml version="1.0" encoding="utf-8"?>
<p:tagLst xmlns:a="http://schemas.openxmlformats.org/drawingml/2006/main" xmlns:r="http://schemas.openxmlformats.org/officeDocument/2006/relationships" xmlns:p="http://schemas.openxmlformats.org/presentationml/2006/main">
  <p:tag name="MIO_USER_INPUT_REQUIRED" val="Activate Flight Mode (hide logos);"/>
  <p:tag name="MIO_USER_INPUT_OPTIONAL" val=" "/>
  <p:tag name="MIO_USER_INPUT_FIXED" val=" "/>
</p:tagLst>
</file>

<file path=ppt/tags/tag2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xml><?xml version="1.0" encoding="utf-8"?>
<p:tagLst xmlns:a="http://schemas.openxmlformats.org/drawingml/2006/main" xmlns:r="http://schemas.openxmlformats.org/officeDocument/2006/relationships" xmlns:p="http://schemas.openxmlformats.org/presentationml/2006/main">
  <p:tag name="MIO_USER_INPUT_REQUIRED" val="Additional grid lines (5/10 contents);"/>
  <p:tag name="MIO_USER_INPUT_OPTIONAL" val=" "/>
  <p:tag name="MIO_USER_INPUT_FIXED" val=" "/>
</p:tagLst>
</file>

<file path=ppt/tags/tag3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xml><?xml version="1.0" encoding="utf-8"?>
<p:tagLst xmlns:a="http://schemas.openxmlformats.org/drawingml/2006/main" xmlns:r="http://schemas.openxmlformats.org/officeDocument/2006/relationships" xmlns:p="http://schemas.openxmlformats.org/presentationml/2006/main">
  <p:tag name="MIO_USER_INPUT_REQUIRED" val="Additional grid lines (2/3/4/6/12 contents);"/>
  <p:tag name="MIO_USER_INPUT_OPTIONAL" val=" "/>
  <p:tag name="MIO_USER_INPUT_FIXED" val=" "/>
</p:tagLst>
</file>

<file path=ppt/tags/tag4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xml><?xml version="1.0" encoding="utf-8"?>
<p:tagLst xmlns:a="http://schemas.openxmlformats.org/drawingml/2006/main" xmlns:r="http://schemas.openxmlformats.org/officeDocument/2006/relationships" xmlns:p="http://schemas.openxmlformats.org/presentationml/2006/main">
  <p:tag name="MIO_USER_INPUT_REQUIRED" val="Grid Support;"/>
  <p:tag name="MIO_USER_INPUT_OPTIONAL" val=" "/>
  <p:tag name="MIO_USER_INPUT_FIXED" val=" "/>
</p:tagLst>
</file>

<file path=ppt/tags/tag5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xml><?xml version="1.0" encoding="utf-8"?>
<p:tagLst xmlns:a="http://schemas.openxmlformats.org/drawingml/2006/main" xmlns:r="http://schemas.openxmlformats.org/officeDocument/2006/relationships" xmlns:p="http://schemas.openxmlformats.org/presentationml/2006/main">
  <p:tag name="MIO_FALLBACK_LAYOUT" val="4"/>
  <p:tag name="MIO_SHOW_DATE" val="False"/>
  <p:tag name="MIO_SHOW_FOOTER" val="True"/>
  <p:tag name="MIO_SHOW_PAGENUMBER" val="True"/>
  <p:tag name="MIO_AVOID_BLANK_LAYOUT" val="False"/>
  <p:tag name="MIO_CD_LAYOUT_VALID_AREA" val="False"/>
  <p:tag name="MIO_NUMBER_OF_VALID_LAYOUTS" val="17"/>
  <p:tag name="MIO_HDS" val="True"/>
  <p:tag name="MIO_SKIPVERSION" val="01.01.0001 00:00:00"/>
  <p:tag name="MIO_EKGUID" val="e746a57e-2a84-4a0c-ae3d-5e0e53a112c1"/>
  <p:tag name="MIO_UPDATE" val="True"/>
  <p:tag name="MIO_VERSION" val="14.04.2021 07:50:24"/>
  <p:tag name="MIO_DBID" val="0F45B44C-9BC7-4D85-81C4-7155EE70A7B9"/>
  <p:tag name="MIO_LASTDOWNLOADED" val="04.05.2021 11:39:05.112"/>
  <p:tag name="MIO_OBJECTNAME" val="Software AG - Starter Set"/>
  <p:tag name="MIO_CDID" val="0f6eb175-c46e-498e-a47f-756318dd4d0b"/>
</p:tagLst>
</file>

<file path=ppt/tags/tag6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8.xml><?xml version="1.0" encoding="utf-8"?>
<p:tagLst xmlns:a="http://schemas.openxmlformats.org/drawingml/2006/main" xmlns:r="http://schemas.openxmlformats.org/officeDocument/2006/relationships" xmlns:p="http://schemas.openxmlformats.org/presentationml/2006/main">
  <p:tag name="MIO_USER_INPUT_REQUIRED" val="Activate Flight Mode (hide logos);"/>
  <p:tag name="MIO_USER_INPUT_OPTIONAL" val=" "/>
  <p:tag name="MIO_USER_INPUT_FIXED" val=" "/>
</p:tagLst>
</file>

<file path=ppt/tags/tag69.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0.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TEXT" val=" "/>
</p:tagLst>
</file>

<file path=ppt/tags/tag71.xml><?xml version="1.0" encoding="utf-8"?>
<p:tagLst xmlns:a="http://schemas.openxmlformats.org/drawingml/2006/main" xmlns:r="http://schemas.openxmlformats.org/officeDocument/2006/relationships" xmlns:p="http://schemas.openxmlformats.org/presentationml/2006/main">
  <p:tag name="MIO_USER_INPUT_REQUIRED" val="Activate Flight Mode (hide logos);"/>
  <p:tag name="MIO_USER_INPUT_OPTIONAL" val=" "/>
  <p:tag name="MIO_USER_INPUT_FIXED" val=" "/>
</p:tagLst>
</file>

<file path=ppt/tags/tag72.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3.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4.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5.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6.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7.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8.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9.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0.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81.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82.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83.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84.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TEXT" val=" "/>
</p:tagLst>
</file>

<file path=ppt/tags/tag85.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86.xml><?xml version="1.0" encoding="utf-8"?>
<p:tagLst xmlns:a="http://schemas.openxmlformats.org/drawingml/2006/main" xmlns:r="http://schemas.openxmlformats.org/officeDocument/2006/relationships" xmlns:p="http://schemas.openxmlformats.org/presentationml/2006/main">
  <p:tag name="MIO_USER_INPUT_REQUIRED" val="Activate Flight Mode (hide logos);"/>
  <p:tag name="MIO_USER_INPUT_OPTIONAL" val=" "/>
  <p:tag name="MIO_USER_INPUT_FIXED" val=" "/>
</p:tagLst>
</file>

<file path=ppt/tags/tag87.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88.xml><?xml version="1.0" encoding="utf-8"?>
<p:tagLst xmlns:a="http://schemas.openxmlformats.org/drawingml/2006/main" xmlns:r="http://schemas.openxmlformats.org/officeDocument/2006/relationships" xmlns:p="http://schemas.openxmlformats.org/presentationml/2006/main">
  <p:tag name="MIO_USER_INPUT_REQUIRED" val="Activate Flight Mode (hide logos);"/>
  <p:tag name="MIO_USER_INPUT_OPTIONAL" val=" "/>
  <p:tag name="MIO_USER_INPUT_FIXED" val=" "/>
</p:tagLst>
</file>

<file path=ppt/tags/tag9.xml><?xml version="1.0" encoding="utf-8"?>
<p:tagLst xmlns:a="http://schemas.openxmlformats.org/drawingml/2006/main" xmlns:r="http://schemas.openxmlformats.org/officeDocument/2006/relationships" xmlns:p="http://schemas.openxmlformats.org/presentationml/2006/main">
  <p:tag name="MIO_SKIP_CDCHECK" val="True"/>
</p:tagLst>
</file>

<file path=ppt/theme/theme1.xml><?xml version="1.0" encoding="utf-8"?>
<a:theme xmlns:a="http://schemas.openxmlformats.org/drawingml/2006/main" name="Software AG 2021">
  <a:themeElements>
    <a:clrScheme name="Software AG 2021">
      <a:dk1>
        <a:srgbClr val="011F3D"/>
      </a:dk1>
      <a:lt1>
        <a:srgbClr val="FFFFFF"/>
      </a:lt1>
      <a:dk2>
        <a:srgbClr val="011F3D"/>
      </a:dk2>
      <a:lt2>
        <a:srgbClr val="F2F2EA"/>
      </a:lt2>
      <a:accent1>
        <a:srgbClr val="9A50F8"/>
      </a:accent1>
      <a:accent2>
        <a:srgbClr val="3CC1B7"/>
      </a:accent2>
      <a:accent3>
        <a:srgbClr val="D9EC27"/>
      </a:accent3>
      <a:accent4>
        <a:srgbClr val="3B2C5E"/>
      </a:accent4>
      <a:accent5>
        <a:srgbClr val="1C5569"/>
      </a:accent5>
      <a:accent6>
        <a:srgbClr val="E53764"/>
      </a:accent6>
      <a:hlink>
        <a:srgbClr val="011F3D"/>
      </a:hlink>
      <a:folHlink>
        <a:srgbClr val="9A50F8"/>
      </a:folHlink>
    </a:clrScheme>
    <a:fontScheme name="Software AG 2021">
      <a:majorFont>
        <a:latin typeface="Rubik"/>
        <a:ea typeface="Rubik"/>
        <a:cs typeface="Rubik"/>
      </a:majorFont>
      <a:minorFont>
        <a:latin typeface="Rubik"/>
        <a:ea typeface="Rubik"/>
        <a:cs typeface="Rubik"/>
      </a:minorFont>
    </a:fontScheme>
    <a:fmtScheme name="Software AG 2021">
      <a:fillStyleLst>
        <a:solidFill>
          <a:schemeClr val="phClr"/>
        </a:solidFill>
        <a:solidFill>
          <a:schemeClr val="phClr"/>
        </a:solidFill>
        <a:solidFill>
          <a:schemeClr val="phClr"/>
        </a:solidFill>
      </a:fillStyleLst>
      <a:lnStyleLst>
        <a:ln w="6350" cap="flat" cmpd="sng" algn="ctr">
          <a:solidFill>
            <a:schemeClr val="phClr"/>
          </a:solidFill>
          <a:prstDash val="solid"/>
        </a:ln>
        <a:ln w="28575" cap="flat" cmpd="sng" algn="ctr">
          <a:solidFill>
            <a:schemeClr val="phClr"/>
          </a:solidFill>
          <a:prstDash val="solid"/>
        </a:ln>
        <a:ln w="5715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accent1"/>
        </a:solidFill>
        <a:solidFill>
          <a:schemeClr val="accent2"/>
        </a:solidFill>
      </a:bgFillStyleLst>
    </a:fmtScheme>
  </a:themeElements>
  <a:objectDefaults>
    <a:spDef>
      <a:spPr>
        <a:solidFill>
          <a:schemeClr val="bg2"/>
        </a:solidFill>
        <a:ln>
          <a:noFill/>
        </a:ln>
      </a:spPr>
      <a:bodyPr lIns="97200" tIns="97200" rIns="97200" bIns="97200" rtlCol="0" anchor="ctr"/>
      <a:lstStyle>
        <a:defPPr algn="ctr" defTabSz="972000">
          <a:lnSpc>
            <a:spcPct val="120000"/>
          </a:lnSpc>
          <a:spcAft>
            <a:spcPts val="700"/>
          </a:spcAft>
          <a:defRPr dirty="0">
            <a:solidFill>
              <a:schemeClr val="tx1"/>
            </a:solidFill>
          </a:defRPr>
        </a:defPPr>
      </a:lstStyle>
      <a:style>
        <a:lnRef idx="3">
          <a:schemeClr val="lt1"/>
        </a:lnRef>
        <a:fillRef idx="1">
          <a:schemeClr val="accent1"/>
        </a:fillRef>
        <a:effectRef idx="2">
          <a:schemeClr val="accent1"/>
        </a:effectRef>
        <a:fontRef idx="minor">
          <a:schemeClr val="lt1"/>
        </a:fontRef>
      </a:style>
    </a:spDef>
    <a:lnDef>
      <a:spPr>
        <a:ln w="28575"/>
      </a:spPr>
      <a:bodyPr/>
      <a:lstStyle/>
      <a:style>
        <a:lnRef idx="1">
          <a:schemeClr val="accent1"/>
        </a:lnRef>
        <a:fillRef idx="0">
          <a:schemeClr val="accent1"/>
        </a:fillRef>
        <a:effectRef idx="0">
          <a:schemeClr val="accent1"/>
        </a:effectRef>
        <a:fontRef idx="minor">
          <a:schemeClr val="tx1"/>
        </a:fontRef>
      </a:style>
    </a:lnDef>
    <a:txDef>
      <a:spPr>
        <a:ln w="28575">
          <a:noFill/>
        </a:ln>
      </a:spPr>
      <a:bodyPr vert="horz" wrap="square" lIns="0" tIns="0" rIns="0" bIns="0" rtlCol="0">
        <a:noAutofit/>
      </a:bodyPr>
      <a:lstStyle>
        <a:defPPr algn="l" defTabSz="972000">
          <a:lnSpc>
            <a:spcPct val="120000"/>
          </a:lnSpc>
          <a:spcAft>
            <a:spcPts val="765"/>
          </a:spcAft>
          <a:defRPr dirty="0"/>
        </a:defPPr>
      </a:lstStyle>
    </a:txDef>
  </a:objectDefaults>
  <a:extraClrSchemeLst>
    <a:extraClrScheme>
      <a:clrScheme name="Software AG 2021">
        <a:dk1>
          <a:srgbClr val="011F3D"/>
        </a:dk1>
        <a:lt1>
          <a:srgbClr val="FFFFFF"/>
        </a:lt1>
        <a:dk2>
          <a:srgbClr val="011F3D"/>
        </a:dk2>
        <a:lt2>
          <a:srgbClr val="F2F2EA"/>
        </a:lt2>
        <a:accent1>
          <a:srgbClr val="9A50F8"/>
        </a:accent1>
        <a:accent2>
          <a:srgbClr val="3CC1B7"/>
        </a:accent2>
        <a:accent3>
          <a:srgbClr val="D9EC27"/>
        </a:accent3>
        <a:accent4>
          <a:srgbClr val="3B2C5E"/>
        </a:accent4>
        <a:accent5>
          <a:srgbClr val="1C5569"/>
        </a:accent5>
        <a:accent6>
          <a:srgbClr val="E53764"/>
        </a:accent6>
        <a:hlink>
          <a:srgbClr val="011F3D"/>
        </a:hlink>
        <a:folHlink>
          <a:srgbClr val="9A50F8"/>
        </a:folHlink>
      </a:clrScheme>
    </a:extraClrScheme>
    <a:extraClrScheme>
      <a:clrScheme name="SAG - Deep Pulse">
        <a:dk1>
          <a:srgbClr val="011F3D"/>
        </a:dk1>
        <a:lt1>
          <a:srgbClr val="FFFFFF"/>
        </a:lt1>
        <a:dk2>
          <a:srgbClr val="011F3D"/>
        </a:dk2>
        <a:lt2>
          <a:srgbClr val="F2F2EA"/>
        </a:lt2>
        <a:accent1>
          <a:srgbClr val="9A50F8"/>
        </a:accent1>
        <a:accent2>
          <a:srgbClr val="1C5569"/>
        </a:accent2>
        <a:accent3>
          <a:srgbClr val="3CC1B7"/>
        </a:accent3>
        <a:accent4>
          <a:srgbClr val="D9EC27"/>
        </a:accent4>
        <a:accent5>
          <a:srgbClr val="1C5569"/>
        </a:accent5>
        <a:accent6>
          <a:srgbClr val="9A50F8"/>
        </a:accent6>
        <a:hlink>
          <a:srgbClr val="011F3D"/>
        </a:hlink>
        <a:folHlink>
          <a:srgbClr val="9A50F8"/>
        </a:folHlink>
      </a:clrScheme>
    </a:extraClrScheme>
    <a:extraClrScheme>
      <a:clrScheme name="SAG - Deep Sense">
        <a:dk1>
          <a:srgbClr val="011F3D"/>
        </a:dk1>
        <a:lt1>
          <a:srgbClr val="FFFFFF"/>
        </a:lt1>
        <a:dk2>
          <a:srgbClr val="011F3D"/>
        </a:dk2>
        <a:lt2>
          <a:srgbClr val="F2F2EA"/>
        </a:lt2>
        <a:accent1>
          <a:srgbClr val="3CC1B7"/>
        </a:accent1>
        <a:accent2>
          <a:srgbClr val="1C5569"/>
        </a:accent2>
        <a:accent3>
          <a:srgbClr val="9A50F8"/>
        </a:accent3>
        <a:accent4>
          <a:srgbClr val="D9EC27"/>
        </a:accent4>
        <a:accent5>
          <a:srgbClr val="1C5569"/>
        </a:accent5>
        <a:accent6>
          <a:srgbClr val="3CC1B7"/>
        </a:accent6>
        <a:hlink>
          <a:srgbClr val="011F3D"/>
        </a:hlink>
        <a:folHlink>
          <a:srgbClr val="3CC1B7"/>
        </a:folHlink>
      </a:clrScheme>
    </a:extraClrScheme>
    <a:extraClrScheme>
      <a:clrScheme name="SAG - Life">
        <a:dk1>
          <a:srgbClr val="011F3D"/>
        </a:dk1>
        <a:lt1>
          <a:srgbClr val="FFFFFF"/>
        </a:lt1>
        <a:dk2>
          <a:srgbClr val="011F3D"/>
        </a:dk2>
        <a:lt2>
          <a:srgbClr val="F2F2EA"/>
        </a:lt2>
        <a:accent1>
          <a:srgbClr val="D9EC27"/>
        </a:accent1>
        <a:accent2>
          <a:srgbClr val="3CC1B7"/>
        </a:accent2>
        <a:accent3>
          <a:srgbClr val="9A50F8"/>
        </a:accent3>
        <a:accent4>
          <a:srgbClr val="1C5569"/>
        </a:accent4>
        <a:accent5>
          <a:srgbClr val="3B2C5E"/>
        </a:accent5>
        <a:accent6>
          <a:srgbClr val="E53764"/>
        </a:accent6>
        <a:hlink>
          <a:srgbClr val="011F3D"/>
        </a:hlink>
        <a:folHlink>
          <a:srgbClr val="9A50F8"/>
        </a:folHlink>
      </a:clrScheme>
    </a:extraClrScheme>
    <a:extraClrScheme>
      <a:clrScheme name="SAG - Red">
        <a:dk1>
          <a:srgbClr val="011F3D"/>
        </a:dk1>
        <a:lt1>
          <a:srgbClr val="FFFFFF"/>
        </a:lt1>
        <a:dk2>
          <a:srgbClr val="011F3D"/>
        </a:dk2>
        <a:lt2>
          <a:srgbClr val="F2F2EA"/>
        </a:lt2>
        <a:accent1>
          <a:srgbClr val="E53764"/>
        </a:accent1>
        <a:accent2>
          <a:srgbClr val="9A50F8"/>
        </a:accent2>
        <a:accent3>
          <a:srgbClr val="3CC1B7"/>
        </a:accent3>
        <a:accent4>
          <a:srgbClr val="D9EC27"/>
        </a:accent4>
        <a:accent5>
          <a:srgbClr val="1C5569"/>
        </a:accent5>
        <a:accent6>
          <a:srgbClr val="3B2C5E"/>
        </a:accent6>
        <a:hlink>
          <a:srgbClr val="011F3D"/>
        </a:hlink>
        <a:folHlink>
          <a:srgbClr val="3CC1B7"/>
        </a:folHlink>
      </a:clrScheme>
    </a:extraClrScheme>
    <a:extraClrScheme>
      <a:clrScheme name="SAG - Sense">
        <a:dk1>
          <a:srgbClr val="011F3D"/>
        </a:dk1>
        <a:lt1>
          <a:srgbClr val="FFFFFF"/>
        </a:lt1>
        <a:dk2>
          <a:srgbClr val="011F3D"/>
        </a:dk2>
        <a:lt2>
          <a:srgbClr val="F2F2EA"/>
        </a:lt2>
        <a:accent1>
          <a:srgbClr val="3CC1B7"/>
        </a:accent1>
        <a:accent2>
          <a:srgbClr val="9A50F8"/>
        </a:accent2>
        <a:accent3>
          <a:srgbClr val="D9EC27"/>
        </a:accent3>
        <a:accent4>
          <a:srgbClr val="1C5569"/>
        </a:accent4>
        <a:accent5>
          <a:srgbClr val="3B2C5E"/>
        </a:accent5>
        <a:accent6>
          <a:srgbClr val="E53764"/>
        </a:accent6>
        <a:hlink>
          <a:srgbClr val="011F3D"/>
        </a:hlink>
        <a:folHlink>
          <a:srgbClr val="9A50F8"/>
        </a:folHlink>
      </a:clrScheme>
    </a:extraClrScheme>
  </a:extraClrSchemeLst>
  <a:custClrLst>
    <a:custClr name="SAG1">
      <a:srgbClr val="E53764"/>
    </a:custClr>
    <a:custClr name="SAG2">
      <a:srgbClr val="FFFFFF"/>
    </a:custClr>
    <a:custClr name="SAG3">
      <a:srgbClr val="FFFFFF"/>
    </a:custClr>
    <a:custClr name="SAG4">
      <a:srgbClr val="344C64"/>
    </a:custClr>
    <a:custClr name="SAG5">
      <a:srgbClr val="AE73F9"/>
    </a:custClr>
    <a:custClr name="SAG6">
      <a:srgbClr val="63CDC5"/>
    </a:custClr>
    <a:custClr name="SAG7">
      <a:srgbClr val="E1F052"/>
    </a:custClr>
    <a:custClr name="SAG8">
      <a:srgbClr val="62567E"/>
    </a:custClr>
    <a:custClr name="SAG9">
      <a:srgbClr val="497787"/>
    </a:custClr>
    <a:custClr name="SAG10">
      <a:srgbClr val="EA5F83"/>
    </a:custClr>
    <a:custClr name="SAG11">
      <a:srgbClr val="D9EC27"/>
    </a:custClr>
    <a:custClr name="SAG12">
      <a:srgbClr val="FFFFFF"/>
    </a:custClr>
    <a:custClr name="SAG13">
      <a:srgbClr val="FFFFFF"/>
    </a:custClr>
    <a:custClr name="SAG14">
      <a:srgbClr val="67798B"/>
    </a:custClr>
    <a:custClr name="SAG15">
      <a:srgbClr val="C296FB"/>
    </a:custClr>
    <a:custClr name="SAG16">
      <a:srgbClr val="8ADAD4"/>
    </a:custClr>
    <a:custClr name="SAG17">
      <a:srgbClr val="E8F47D"/>
    </a:custClr>
    <a:custClr name="SAG18">
      <a:srgbClr val="89809E"/>
    </a:custClr>
    <a:custClr name="SAG19">
      <a:srgbClr val="7799A5"/>
    </a:custClr>
    <a:custClr name="SAG20">
      <a:srgbClr val="EF87A2"/>
    </a:custClr>
    <a:custClr name="SAG21">
      <a:srgbClr val="1CD469"/>
    </a:custClr>
    <a:custClr name="SAG22">
      <a:srgbClr val="FFFFFF"/>
    </a:custClr>
    <a:custClr name="SAG23">
      <a:srgbClr val="FFFFFF"/>
    </a:custClr>
    <a:custClr name="SAG24">
      <a:srgbClr val="99A5B1"/>
    </a:custClr>
    <a:custClr name="SAG25">
      <a:srgbClr val="D7B9FC"/>
    </a:custClr>
    <a:custClr name="SAG26">
      <a:srgbClr val="B1E6E2"/>
    </a:custClr>
    <a:custClr name="SAG27">
      <a:srgbClr val="F0F7A9"/>
    </a:custClr>
    <a:custClr name="SAG28">
      <a:srgbClr val="B1ABBF"/>
    </a:custClr>
    <a:custClr name="SAG29">
      <a:srgbClr val="A4BBC3"/>
    </a:custClr>
    <a:custClr name="SAG30">
      <a:srgbClr val="F5AFC1"/>
    </a:custClr>
    <a:custClr name="SAG31">
      <a:srgbClr val="FFFFFF"/>
    </a:custClr>
    <a:custClr name="SAG32">
      <a:srgbClr val="FFFFFF"/>
    </a:custClr>
    <a:custClr name="SAG33">
      <a:srgbClr val="FFFFFF"/>
    </a:custClr>
    <a:custClr name="SAG34">
      <a:srgbClr val="CCD2D8"/>
    </a:custClr>
    <a:custClr name="SAG35">
      <a:srgbClr val="EBDCFE"/>
    </a:custClr>
    <a:custClr name="SAG36">
      <a:srgbClr val="D8F3F1"/>
    </a:custClr>
    <a:custClr name="SAG37">
      <a:srgbClr val="F7FBD4"/>
    </a:custClr>
    <a:custClr name="SAG38">
      <a:srgbClr val="D8D5DF"/>
    </a:custClr>
    <a:custClr name="SAG39">
      <a:srgbClr val="D2DDE1"/>
    </a:custClr>
    <a:custClr name="SAG40">
      <a:srgbClr val="FAD7E0"/>
    </a:custClr>
    <a:custClr name="SAG41">
      <a:srgbClr val="FFFFFF"/>
    </a:custClr>
    <a:custClr name="SAG42">
      <a:srgbClr val="FFFFFF"/>
    </a:custClr>
    <a:custClr name="SAG43">
      <a:srgbClr val="FFFFFF"/>
    </a:custClr>
    <a:custClr name="SAG44">
      <a:srgbClr val="FFFFFF"/>
    </a:custClr>
    <a:custClr name="SAG45">
      <a:srgbClr val="FFFFFF"/>
    </a:custClr>
    <a:custClr name="SAG46">
      <a:srgbClr val="FFFFFF"/>
    </a:custClr>
    <a:custClr name="SAG47">
      <a:srgbClr val="FFFFFF"/>
    </a:custClr>
    <a:custClr name="SAG48">
      <a:srgbClr val="FFFFFF"/>
    </a:custClr>
    <a:custClr name="SAG49">
      <a:srgbClr val="FFFFFF"/>
    </a:custClr>
    <a:custClr name="SAG50">
      <a:srgbClr val="FFFFFF"/>
    </a:custClr>
  </a:custClrLst>
  <a:extLst>
    <a:ext uri="{05A4C25C-085E-4340-85A3-A5531E510DB2}">
      <thm15:themeFamily xmlns:thm15="http://schemas.microsoft.com/office/thememl/2012/main" name="Default Theme" id="{BEFA1B04-0967-4EBB-B6B5-968E9C45D404}" vid="{8FC10CF7-5BFF-4A85-A9CE-590AE55A90D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efault Theme</Template>
  <TotalTime>0</TotalTime>
  <Words>253</Words>
  <Application>Microsoft Office PowerPoint</Application>
  <PresentationFormat>Widescreen</PresentationFormat>
  <Paragraphs>27</Paragraphs>
  <Slides>4</Slides>
  <Notes>3</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4</vt:i4>
      </vt:variant>
    </vt:vector>
  </HeadingPairs>
  <TitlesOfParts>
    <vt:vector size="9" baseType="lpstr">
      <vt:lpstr>Rubik</vt:lpstr>
      <vt:lpstr>Wingdings</vt:lpstr>
      <vt:lpstr>Symbol</vt:lpstr>
      <vt:lpstr>Trebuchet MS</vt:lpstr>
      <vt:lpstr>Software AG 2021</vt:lpstr>
      <vt:lpstr>BigCartel Provider</vt:lpstr>
      <vt:lpstr>Big Cartel</vt:lpstr>
      <vt:lpstr>Screenshots for workflow</vt:lpstr>
      <vt:lpstr>PowerPoint Presentation</vt:lpstr>
    </vt:vector>
  </TitlesOfParts>
  <Company>Software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t;SaaS Name&gt; Provider</dc:title>
  <dc:creator>Bhushan Ray, Vidya</dc:creator>
  <cp:lastModifiedBy>Bollapally, Niveed Kumar Reddy</cp:lastModifiedBy>
  <cp:revision>1</cp:revision>
  <dcterms:created xsi:type="dcterms:W3CDTF">2022-01-10T12:32:13Z</dcterms:created>
  <dcterms:modified xsi:type="dcterms:W3CDTF">2022-01-30T13:04:15Z</dcterms:modified>
</cp:coreProperties>
</file>